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4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2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3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4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5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6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7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8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9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0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1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2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3.xml" ContentType="application/vnd.openxmlformats-officedocument.presentationml.notesSlide+xml"/>
  <Override PartName="/ppt/ink/ink1.xml" ContentType="application/inkml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14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15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6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7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18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9.xml" ContentType="application/vnd.openxmlformats-officedocument.presentationml.notesSl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20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21.xml" ContentType="application/vnd.openxmlformats-officedocument.presentationml.notesSlid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22.xml" ContentType="application/vnd.openxmlformats-officedocument.presentationml.notesSl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92" r:id="rId3"/>
  </p:sldMasterIdLst>
  <p:notesMasterIdLst>
    <p:notesMasterId r:id="rId28"/>
  </p:notesMasterIdLst>
  <p:sldIdLst>
    <p:sldId id="266" r:id="rId4"/>
    <p:sldId id="348" r:id="rId5"/>
    <p:sldId id="350" r:id="rId6"/>
    <p:sldId id="352" r:id="rId7"/>
    <p:sldId id="349" r:id="rId8"/>
    <p:sldId id="351" r:id="rId9"/>
    <p:sldId id="353" r:id="rId10"/>
    <p:sldId id="354" r:id="rId11"/>
    <p:sldId id="355" r:id="rId12"/>
    <p:sldId id="357" r:id="rId13"/>
    <p:sldId id="358" r:id="rId14"/>
    <p:sldId id="359" r:id="rId15"/>
    <p:sldId id="369" r:id="rId16"/>
    <p:sldId id="360" r:id="rId17"/>
    <p:sldId id="365" r:id="rId18"/>
    <p:sldId id="362" r:id="rId19"/>
    <p:sldId id="370" r:id="rId20"/>
    <p:sldId id="363" r:id="rId21"/>
    <p:sldId id="368" r:id="rId22"/>
    <p:sldId id="366" r:id="rId23"/>
    <p:sldId id="367" r:id="rId24"/>
    <p:sldId id="364" r:id="rId25"/>
    <p:sldId id="356" r:id="rId26"/>
    <p:sldId id="361" r:id="rId2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Ha Shin" initials="KS" lastIdx="2" clrIdx="0">
    <p:extLst>
      <p:ext uri="{19B8F6BF-5375-455C-9EA6-DF929625EA0E}">
        <p15:presenceInfo xmlns:p15="http://schemas.microsoft.com/office/powerpoint/2012/main" userId="S::KiHa.Shin@novelis.com::cca1b23a-f8aa-456a-973c-70ee1e38d8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99"/>
    <a:srgbClr val="66CC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D98C98-43B8-43D2-9ACF-A118AAA326B5}" v="146" dt="2021-12-02T12:26:44.8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707" autoAdjust="0"/>
  </p:normalViewPr>
  <p:slideViewPr>
    <p:cSldViewPr snapToGrid="0">
      <p:cViewPr varScale="1">
        <p:scale>
          <a:sx n="117" d="100"/>
          <a:sy n="117" d="100"/>
        </p:scale>
        <p:origin x="605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Ha" userId="cca1b23a-f8aa-456a-973c-70ee1e38d8b1" providerId="ADAL" clId="{84D98C98-43B8-43D2-9ACF-A118AAA326B5}"/>
    <pc:docChg chg="undo custSel addSld delSld modSld sldOrd">
      <pc:chgData name="KiHa" userId="cca1b23a-f8aa-456a-973c-70ee1e38d8b1" providerId="ADAL" clId="{84D98C98-43B8-43D2-9ACF-A118AAA326B5}" dt="2021-12-04T02:11:45.136" v="8681" actId="20577"/>
      <pc:docMkLst>
        <pc:docMk/>
      </pc:docMkLst>
      <pc:sldChg chg="modSp mod">
        <pc:chgData name="KiHa" userId="cca1b23a-f8aa-456a-973c-70ee1e38d8b1" providerId="ADAL" clId="{84D98C98-43B8-43D2-9ACF-A118AAA326B5}" dt="2021-12-02T12:18:44.902" v="8545" actId="20577"/>
        <pc:sldMkLst>
          <pc:docMk/>
          <pc:sldMk cId="3214165071" sldId="266"/>
        </pc:sldMkLst>
        <pc:spChg chg="mod">
          <ac:chgData name="KiHa" userId="cca1b23a-f8aa-456a-973c-70ee1e38d8b1" providerId="ADAL" clId="{84D98C98-43B8-43D2-9ACF-A118AAA326B5}" dt="2021-12-02T12:18:44.902" v="8545" actId="20577"/>
          <ac:spMkLst>
            <pc:docMk/>
            <pc:sldMk cId="3214165071" sldId="266"/>
            <ac:spMk id="9" creationId="{00000000-0000-0000-0000-000000000000}"/>
          </ac:spMkLst>
        </pc:spChg>
        <pc:spChg chg="mod">
          <ac:chgData name="KiHa" userId="cca1b23a-f8aa-456a-973c-70ee1e38d8b1" providerId="ADAL" clId="{84D98C98-43B8-43D2-9ACF-A118AAA326B5}" dt="2021-12-02T12:18:29.239" v="8540" actId="6549"/>
          <ac:spMkLst>
            <pc:docMk/>
            <pc:sldMk cId="3214165071" sldId="266"/>
            <ac:spMk id="12" creationId="{00000000-0000-0000-0000-000000000000}"/>
          </ac:spMkLst>
        </pc:spChg>
      </pc:sldChg>
      <pc:sldChg chg="addSp delSp modSp mod">
        <pc:chgData name="KiHa" userId="cca1b23a-f8aa-456a-973c-70ee1e38d8b1" providerId="ADAL" clId="{84D98C98-43B8-43D2-9ACF-A118AAA326B5}" dt="2021-12-02T12:20:17.922" v="8548" actId="20577"/>
        <pc:sldMkLst>
          <pc:docMk/>
          <pc:sldMk cId="3536636068" sldId="348"/>
        </pc:sldMkLst>
        <pc:spChg chg="mod">
          <ac:chgData name="KiHa" userId="cca1b23a-f8aa-456a-973c-70ee1e38d8b1" providerId="ADAL" clId="{84D98C98-43B8-43D2-9ACF-A118AAA326B5}" dt="2021-12-01T13:25:24.233" v="121" actId="20577"/>
          <ac:spMkLst>
            <pc:docMk/>
            <pc:sldMk cId="3536636068" sldId="348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1T13:24:54.873" v="72" actId="478"/>
          <ac:spMkLst>
            <pc:docMk/>
            <pc:sldMk cId="3536636068" sldId="348"/>
            <ac:spMk id="3" creationId="{00000000-0000-0000-0000-000000000000}"/>
          </ac:spMkLst>
        </pc:spChg>
        <pc:graphicFrameChg chg="add mod modGraphic">
          <ac:chgData name="KiHa" userId="cca1b23a-f8aa-456a-973c-70ee1e38d8b1" providerId="ADAL" clId="{84D98C98-43B8-43D2-9ACF-A118AAA326B5}" dt="2021-12-02T12:20:17.922" v="8548" actId="20577"/>
          <ac:graphicFrameMkLst>
            <pc:docMk/>
            <pc:sldMk cId="3536636068" sldId="348"/>
            <ac:graphicFrameMk id="6" creationId="{BD169618-46F2-4417-AABA-DDDEFCBE6F06}"/>
          </ac:graphicFrameMkLst>
        </pc:graphicFrame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241693238" sldId="349"/>
        </pc:sldMkLst>
      </pc:sldChg>
      <pc:sldChg chg="addSp delSp modSp add mod ord">
        <pc:chgData name="KiHa" userId="cca1b23a-f8aa-456a-973c-70ee1e38d8b1" providerId="ADAL" clId="{84D98C98-43B8-43D2-9ACF-A118AAA326B5}" dt="2021-12-02T10:37:06.503" v="7799" actId="6549"/>
        <pc:sldMkLst>
          <pc:docMk/>
          <pc:sldMk cId="1012809484" sldId="349"/>
        </pc:sldMkLst>
        <pc:spChg chg="mod">
          <ac:chgData name="KiHa" userId="cca1b23a-f8aa-456a-973c-70ee1e38d8b1" providerId="ADAL" clId="{84D98C98-43B8-43D2-9ACF-A118AAA326B5}" dt="2021-12-01T13:42:20.777" v="1178" actId="20577"/>
          <ac:spMkLst>
            <pc:docMk/>
            <pc:sldMk cId="1012809484" sldId="349"/>
            <ac:spMk id="2" creationId="{00000000-0000-0000-0000-000000000000}"/>
          </ac:spMkLst>
        </pc:spChg>
        <pc:spChg chg="add del mod">
          <ac:chgData name="KiHa" userId="cca1b23a-f8aa-456a-973c-70ee1e38d8b1" providerId="ADAL" clId="{84D98C98-43B8-43D2-9ACF-A118AAA326B5}" dt="2021-12-01T13:42:24.393" v="1179" actId="478"/>
          <ac:spMkLst>
            <pc:docMk/>
            <pc:sldMk cId="1012809484" sldId="349"/>
            <ac:spMk id="3" creationId="{43114BF9-0E2F-4314-9012-1D01C101937F}"/>
          </ac:spMkLst>
        </pc:spChg>
        <pc:spChg chg="add mod">
          <ac:chgData name="KiHa" userId="cca1b23a-f8aa-456a-973c-70ee1e38d8b1" providerId="ADAL" clId="{84D98C98-43B8-43D2-9ACF-A118AAA326B5}" dt="2021-12-01T22:32:30.543" v="2830" actId="1076"/>
          <ac:spMkLst>
            <pc:docMk/>
            <pc:sldMk cId="1012809484" sldId="349"/>
            <ac:spMk id="7" creationId="{BB25E32B-0417-4083-B3C7-7E1FFF61AD7A}"/>
          </ac:spMkLst>
        </pc:spChg>
        <pc:spChg chg="add mod">
          <ac:chgData name="KiHa" userId="cca1b23a-f8aa-456a-973c-70ee1e38d8b1" providerId="ADAL" clId="{84D98C98-43B8-43D2-9ACF-A118AAA326B5}" dt="2021-12-01T13:42:57.382" v="1240" actId="1076"/>
          <ac:spMkLst>
            <pc:docMk/>
            <pc:sldMk cId="1012809484" sldId="349"/>
            <ac:spMk id="8" creationId="{9915ACCA-A7A3-4E97-9045-4F4A83E55CDC}"/>
          </ac:spMkLst>
        </pc:spChg>
        <pc:spChg chg="add del">
          <ac:chgData name="KiHa" userId="cca1b23a-f8aa-456a-973c-70ee1e38d8b1" providerId="ADAL" clId="{84D98C98-43B8-43D2-9ACF-A118AAA326B5}" dt="2021-12-01T13:46:30.276" v="1370" actId="478"/>
          <ac:spMkLst>
            <pc:docMk/>
            <pc:sldMk cId="1012809484" sldId="349"/>
            <ac:spMk id="9" creationId="{4806D103-373B-4478-927F-0C10B5546BA2}"/>
          </ac:spMkLst>
        </pc:spChg>
        <pc:spChg chg="add mod">
          <ac:chgData name="KiHa" userId="cca1b23a-f8aa-456a-973c-70ee1e38d8b1" providerId="ADAL" clId="{84D98C98-43B8-43D2-9ACF-A118AAA326B5}" dt="2021-12-01T13:52:31.094" v="1758" actId="1076"/>
          <ac:spMkLst>
            <pc:docMk/>
            <pc:sldMk cId="1012809484" sldId="349"/>
            <ac:spMk id="10" creationId="{00B9C73A-AEDD-4C60-B076-BBDA2CC0FE0E}"/>
          </ac:spMkLst>
        </pc:spChg>
        <pc:spChg chg="add mod">
          <ac:chgData name="KiHa" userId="cca1b23a-f8aa-456a-973c-70ee1e38d8b1" providerId="ADAL" clId="{84D98C98-43B8-43D2-9ACF-A118AAA326B5}" dt="2021-12-01T13:52:33.848" v="1759" actId="1076"/>
          <ac:spMkLst>
            <pc:docMk/>
            <pc:sldMk cId="1012809484" sldId="349"/>
            <ac:spMk id="11" creationId="{3140E4C1-3617-4456-9FF6-82DD58F35DBD}"/>
          </ac:spMkLst>
        </pc:spChg>
        <pc:spChg chg="add mod">
          <ac:chgData name="KiHa" userId="cca1b23a-f8aa-456a-973c-70ee1e38d8b1" providerId="ADAL" clId="{84D98C98-43B8-43D2-9ACF-A118AAA326B5}" dt="2021-12-01T22:32:37.681" v="2831" actId="1076"/>
          <ac:spMkLst>
            <pc:docMk/>
            <pc:sldMk cId="1012809484" sldId="349"/>
            <ac:spMk id="17" creationId="{9FFE803F-23FD-4222-8CB5-51DCF39AC370}"/>
          </ac:spMkLst>
        </pc:spChg>
        <pc:spChg chg="add mod">
          <ac:chgData name="KiHa" userId="cca1b23a-f8aa-456a-973c-70ee1e38d8b1" providerId="ADAL" clId="{84D98C98-43B8-43D2-9ACF-A118AAA326B5}" dt="2021-12-01T22:32:40.646" v="2832" actId="1076"/>
          <ac:spMkLst>
            <pc:docMk/>
            <pc:sldMk cId="1012809484" sldId="349"/>
            <ac:spMk id="18" creationId="{9F22DE90-3D34-46F7-9303-1A2488AC6E43}"/>
          </ac:spMkLst>
        </pc:spChg>
        <pc:spChg chg="add mod ord">
          <ac:chgData name="KiHa" userId="cca1b23a-f8aa-456a-973c-70ee1e38d8b1" providerId="ADAL" clId="{84D98C98-43B8-43D2-9ACF-A118AAA326B5}" dt="2021-12-01T22:30:50.751" v="2771" actId="167"/>
          <ac:spMkLst>
            <pc:docMk/>
            <pc:sldMk cId="1012809484" sldId="349"/>
            <ac:spMk id="22" creationId="{A401D3BD-7B88-44B3-9D71-98BC51CA69E9}"/>
          </ac:spMkLst>
        </pc:spChg>
        <pc:spChg chg="add mod ord">
          <ac:chgData name="KiHa" userId="cca1b23a-f8aa-456a-973c-70ee1e38d8b1" providerId="ADAL" clId="{84D98C98-43B8-43D2-9ACF-A118AAA326B5}" dt="2021-12-01T22:31:00.467" v="2773" actId="167"/>
          <ac:spMkLst>
            <pc:docMk/>
            <pc:sldMk cId="1012809484" sldId="349"/>
            <ac:spMk id="23" creationId="{C7B1362F-C96B-4F8B-9A86-7C8E0759AE5F}"/>
          </ac:spMkLst>
        </pc:spChg>
        <pc:spChg chg="add mod">
          <ac:chgData name="KiHa" userId="cca1b23a-f8aa-456a-973c-70ee1e38d8b1" providerId="ADAL" clId="{84D98C98-43B8-43D2-9ACF-A118AAA326B5}" dt="2021-12-01T13:46:19.854" v="1365" actId="14100"/>
          <ac:spMkLst>
            <pc:docMk/>
            <pc:sldMk cId="1012809484" sldId="349"/>
            <ac:spMk id="24" creationId="{5B5956E4-4ED7-4818-87B1-A430E348E017}"/>
          </ac:spMkLst>
        </pc:spChg>
        <pc:spChg chg="add mod">
          <ac:chgData name="KiHa" userId="cca1b23a-f8aa-456a-973c-70ee1e38d8b1" providerId="ADAL" clId="{84D98C98-43B8-43D2-9ACF-A118AAA326B5}" dt="2021-12-01T13:46:36.306" v="1372" actId="1076"/>
          <ac:spMkLst>
            <pc:docMk/>
            <pc:sldMk cId="1012809484" sldId="349"/>
            <ac:spMk id="27" creationId="{E189D494-89AE-4377-ACCF-0AD6A0DD05EC}"/>
          </ac:spMkLst>
        </pc:spChg>
        <pc:spChg chg="add mod">
          <ac:chgData name="KiHa" userId="cca1b23a-f8aa-456a-973c-70ee1e38d8b1" providerId="ADAL" clId="{84D98C98-43B8-43D2-9ACF-A118AAA326B5}" dt="2021-12-01T13:47:53.751" v="1454" actId="1076"/>
          <ac:spMkLst>
            <pc:docMk/>
            <pc:sldMk cId="1012809484" sldId="349"/>
            <ac:spMk id="31" creationId="{553E9999-75FE-4763-944D-E6AC841512B4}"/>
          </ac:spMkLst>
        </pc:spChg>
        <pc:spChg chg="add mod">
          <ac:chgData name="KiHa" userId="cca1b23a-f8aa-456a-973c-70ee1e38d8b1" providerId="ADAL" clId="{84D98C98-43B8-43D2-9ACF-A118AAA326B5}" dt="2021-12-01T13:47:53.751" v="1454" actId="1076"/>
          <ac:spMkLst>
            <pc:docMk/>
            <pc:sldMk cId="1012809484" sldId="349"/>
            <ac:spMk id="32" creationId="{C30B9587-C7CD-43B0-80B4-D7310B4C15B3}"/>
          </ac:spMkLst>
        </pc:spChg>
        <pc:spChg chg="add mod">
          <ac:chgData name="KiHa" userId="cca1b23a-f8aa-456a-973c-70ee1e38d8b1" providerId="ADAL" clId="{84D98C98-43B8-43D2-9ACF-A118AAA326B5}" dt="2021-12-01T13:47:26.633" v="1423" actId="1076"/>
          <ac:spMkLst>
            <pc:docMk/>
            <pc:sldMk cId="1012809484" sldId="349"/>
            <ac:spMk id="33" creationId="{D111B471-D66F-487D-8298-1BEC712D31FD}"/>
          </ac:spMkLst>
        </pc:spChg>
        <pc:spChg chg="add mod">
          <ac:chgData name="KiHa" userId="cca1b23a-f8aa-456a-973c-70ee1e38d8b1" providerId="ADAL" clId="{84D98C98-43B8-43D2-9ACF-A118AAA326B5}" dt="2021-12-01T13:47:20.973" v="1413" actId="1076"/>
          <ac:spMkLst>
            <pc:docMk/>
            <pc:sldMk cId="1012809484" sldId="349"/>
            <ac:spMk id="34" creationId="{81181E48-9F65-4A84-81F2-365793DACF6E}"/>
          </ac:spMkLst>
        </pc:spChg>
        <pc:spChg chg="add mod">
          <ac:chgData name="KiHa" userId="cca1b23a-f8aa-456a-973c-70ee1e38d8b1" providerId="ADAL" clId="{84D98C98-43B8-43D2-9ACF-A118AAA326B5}" dt="2021-12-01T13:50:39.554" v="1680" actId="1076"/>
          <ac:spMkLst>
            <pc:docMk/>
            <pc:sldMk cId="1012809484" sldId="349"/>
            <ac:spMk id="35" creationId="{7B0C6C45-39F0-49D7-9ADA-EF246E5DCA89}"/>
          </ac:spMkLst>
        </pc:spChg>
        <pc:spChg chg="add mod">
          <ac:chgData name="KiHa" userId="cca1b23a-f8aa-456a-973c-70ee1e38d8b1" providerId="ADAL" clId="{84D98C98-43B8-43D2-9ACF-A118AAA326B5}" dt="2021-12-01T13:50:37.535" v="1679" actId="1076"/>
          <ac:spMkLst>
            <pc:docMk/>
            <pc:sldMk cId="1012809484" sldId="349"/>
            <ac:spMk id="36" creationId="{022D911B-7060-490F-B426-998411E4FF15}"/>
          </ac:spMkLst>
        </pc:spChg>
        <pc:spChg chg="add mod">
          <ac:chgData name="KiHa" userId="cca1b23a-f8aa-456a-973c-70ee1e38d8b1" providerId="ADAL" clId="{84D98C98-43B8-43D2-9ACF-A118AAA326B5}" dt="2021-12-01T13:50:47.634" v="1681" actId="1076"/>
          <ac:spMkLst>
            <pc:docMk/>
            <pc:sldMk cId="1012809484" sldId="349"/>
            <ac:spMk id="37" creationId="{14248369-5ECD-4DDC-9B84-34C31FF31E03}"/>
          </ac:spMkLst>
        </pc:spChg>
        <pc:spChg chg="add mod">
          <ac:chgData name="KiHa" userId="cca1b23a-f8aa-456a-973c-70ee1e38d8b1" providerId="ADAL" clId="{84D98C98-43B8-43D2-9ACF-A118AAA326B5}" dt="2021-12-01T13:50:47.634" v="1681" actId="1076"/>
          <ac:spMkLst>
            <pc:docMk/>
            <pc:sldMk cId="1012809484" sldId="349"/>
            <ac:spMk id="38" creationId="{8D17616B-3F61-4CFC-BB4A-2095B483F434}"/>
          </ac:spMkLst>
        </pc:spChg>
        <pc:spChg chg="add del mod">
          <ac:chgData name="KiHa" userId="cca1b23a-f8aa-456a-973c-70ee1e38d8b1" providerId="ADAL" clId="{84D98C98-43B8-43D2-9ACF-A118AAA326B5}" dt="2021-12-01T13:49:41.841" v="1587"/>
          <ac:spMkLst>
            <pc:docMk/>
            <pc:sldMk cId="1012809484" sldId="349"/>
            <ac:spMk id="47" creationId="{A96F8FAB-266A-4A3A-BF5D-36E3E972B7AA}"/>
          </ac:spMkLst>
        </pc:spChg>
        <pc:spChg chg="add mod">
          <ac:chgData name="KiHa" userId="cca1b23a-f8aa-456a-973c-70ee1e38d8b1" providerId="ADAL" clId="{84D98C98-43B8-43D2-9ACF-A118AAA326B5}" dt="2021-12-02T10:37:06.503" v="7799" actId="6549"/>
          <ac:spMkLst>
            <pc:docMk/>
            <pc:sldMk cId="1012809484" sldId="349"/>
            <ac:spMk id="48" creationId="{A108AA30-307C-40F6-88DB-98FD63F21507}"/>
          </ac:spMkLst>
        </pc:spChg>
        <pc:spChg chg="add mod">
          <ac:chgData name="KiHa" userId="cca1b23a-f8aa-456a-973c-70ee1e38d8b1" providerId="ADAL" clId="{84D98C98-43B8-43D2-9ACF-A118AAA326B5}" dt="2021-12-01T22:32:14.297" v="2828" actId="20577"/>
          <ac:spMkLst>
            <pc:docMk/>
            <pc:sldMk cId="1012809484" sldId="349"/>
            <ac:spMk id="49" creationId="{61BCF456-D26C-4BC5-845F-A77B13E9FBFD}"/>
          </ac:spMkLst>
        </pc:spChg>
        <pc:spChg chg="add mod">
          <ac:chgData name="KiHa" userId="cca1b23a-f8aa-456a-973c-70ee1e38d8b1" providerId="ADAL" clId="{84D98C98-43B8-43D2-9ACF-A118AAA326B5}" dt="2021-12-01T14:01:21.034" v="1845" actId="113"/>
          <ac:spMkLst>
            <pc:docMk/>
            <pc:sldMk cId="1012809484" sldId="349"/>
            <ac:spMk id="50" creationId="{AC0F2081-826E-4A39-8B79-FE4A37B8C7DF}"/>
          </ac:spMkLst>
        </pc:spChg>
        <pc:spChg chg="add mod">
          <ac:chgData name="KiHa" userId="cca1b23a-f8aa-456a-973c-70ee1e38d8b1" providerId="ADAL" clId="{84D98C98-43B8-43D2-9ACF-A118AAA326B5}" dt="2021-12-01T14:01:17.279" v="1844" actId="113"/>
          <ac:spMkLst>
            <pc:docMk/>
            <pc:sldMk cId="1012809484" sldId="349"/>
            <ac:spMk id="51" creationId="{6178F03A-EBBF-48E3-B05C-C5AFF4474104}"/>
          </ac:spMkLst>
        </pc:spChg>
        <pc:graphicFrameChg chg="del">
          <ac:chgData name="KiHa" userId="cca1b23a-f8aa-456a-973c-70ee1e38d8b1" providerId="ADAL" clId="{84D98C98-43B8-43D2-9ACF-A118AAA326B5}" dt="2021-12-01T13:37:39.102" v="881" actId="478"/>
          <ac:graphicFrameMkLst>
            <pc:docMk/>
            <pc:sldMk cId="1012809484" sldId="349"/>
            <ac:graphicFrameMk id="6" creationId="{BD169618-46F2-4417-AABA-DDDEFCBE6F06}"/>
          </ac:graphicFrameMkLst>
        </pc:graphicFrameChg>
        <pc:cxnChg chg="add mod">
          <ac:chgData name="KiHa" userId="cca1b23a-f8aa-456a-973c-70ee1e38d8b1" providerId="ADAL" clId="{84D98C98-43B8-43D2-9ACF-A118AAA326B5}" dt="2021-12-01T13:46:22.181" v="1366" actId="14100"/>
          <ac:cxnSpMkLst>
            <pc:docMk/>
            <pc:sldMk cId="1012809484" sldId="349"/>
            <ac:cxnSpMk id="13" creationId="{D9FF56EC-917F-4C80-80BA-063E1E5C8692}"/>
          </ac:cxnSpMkLst>
        </pc:cxnChg>
        <pc:cxnChg chg="add mod">
          <ac:chgData name="KiHa" userId="cca1b23a-f8aa-456a-973c-70ee1e38d8b1" providerId="ADAL" clId="{84D98C98-43B8-43D2-9ACF-A118AAA326B5}" dt="2021-12-01T13:46:24.195" v="1367" actId="14100"/>
          <ac:cxnSpMkLst>
            <pc:docMk/>
            <pc:sldMk cId="1012809484" sldId="349"/>
            <ac:cxnSpMk id="14" creationId="{264A3690-8CFB-4E94-8962-A33285BEF049}"/>
          </ac:cxnSpMkLst>
        </pc:cxnChg>
        <pc:cxnChg chg="add mod">
          <ac:chgData name="KiHa" userId="cca1b23a-f8aa-456a-973c-70ee1e38d8b1" providerId="ADAL" clId="{84D98C98-43B8-43D2-9ACF-A118AAA326B5}" dt="2021-12-01T13:45:41.992" v="1357" actId="1076"/>
          <ac:cxnSpMkLst>
            <pc:docMk/>
            <pc:sldMk cId="1012809484" sldId="349"/>
            <ac:cxnSpMk id="20" creationId="{D30350C9-1388-46D1-B7E4-7BFABF2B2F4C}"/>
          </ac:cxnSpMkLst>
        </pc:cxnChg>
        <pc:cxnChg chg="add mod">
          <ac:chgData name="KiHa" userId="cca1b23a-f8aa-456a-973c-70ee1e38d8b1" providerId="ADAL" clId="{84D98C98-43B8-43D2-9ACF-A118AAA326B5}" dt="2021-12-01T13:45:39.866" v="1356" actId="1076"/>
          <ac:cxnSpMkLst>
            <pc:docMk/>
            <pc:sldMk cId="1012809484" sldId="349"/>
            <ac:cxnSpMk id="21" creationId="{BE710477-3D33-4223-BB39-F9211084B1AA}"/>
          </ac:cxnSpMkLst>
        </pc:cxnChg>
        <pc:cxnChg chg="add mod">
          <ac:chgData name="KiHa" userId="cca1b23a-f8aa-456a-973c-70ee1e38d8b1" providerId="ADAL" clId="{84D98C98-43B8-43D2-9ACF-A118AAA326B5}" dt="2021-12-01T13:46:36.306" v="1372" actId="1076"/>
          <ac:cxnSpMkLst>
            <pc:docMk/>
            <pc:sldMk cId="1012809484" sldId="349"/>
            <ac:cxnSpMk id="29" creationId="{57152F80-EBF1-4952-BECA-53FB29F47299}"/>
          </ac:cxnSpMkLst>
        </pc:cxnChg>
        <pc:cxnChg chg="add">
          <ac:chgData name="KiHa" userId="cca1b23a-f8aa-456a-973c-70ee1e38d8b1" providerId="ADAL" clId="{84D98C98-43B8-43D2-9ACF-A118AAA326B5}" dt="2021-12-01T13:48:31.103" v="1522" actId="11529"/>
          <ac:cxnSpMkLst>
            <pc:docMk/>
            <pc:sldMk cId="1012809484" sldId="349"/>
            <ac:cxnSpMk id="40" creationId="{60A4A2B8-6885-4AB0-8797-321DDCD6E0E2}"/>
          </ac:cxnSpMkLst>
        </pc:cxnChg>
        <pc:cxnChg chg="add mod">
          <ac:chgData name="KiHa" userId="cca1b23a-f8aa-456a-973c-70ee1e38d8b1" providerId="ADAL" clId="{84D98C98-43B8-43D2-9ACF-A118AAA326B5}" dt="2021-12-01T13:48:37.148" v="1526" actId="14100"/>
          <ac:cxnSpMkLst>
            <pc:docMk/>
            <pc:sldMk cId="1012809484" sldId="349"/>
            <ac:cxnSpMk id="41" creationId="{4D288444-2CE5-4B68-871B-42DA487C8278}"/>
          </ac:cxnSpMkLst>
        </pc:cxnChg>
        <pc:cxnChg chg="add mod">
          <ac:chgData name="KiHa" userId="cca1b23a-f8aa-456a-973c-70ee1e38d8b1" providerId="ADAL" clId="{84D98C98-43B8-43D2-9ACF-A118AAA326B5}" dt="2021-12-01T22:32:25.681" v="2829" actId="14100"/>
          <ac:cxnSpMkLst>
            <pc:docMk/>
            <pc:sldMk cId="1012809484" sldId="349"/>
            <ac:cxnSpMk id="45" creationId="{C812E934-C047-4FEE-8FEA-A7E4799707AA}"/>
          </ac:cxnSpMkLst>
        </pc:cxnChg>
        <pc:cxnChg chg="add mod">
          <ac:chgData name="KiHa" userId="cca1b23a-f8aa-456a-973c-70ee1e38d8b1" providerId="ADAL" clId="{84D98C98-43B8-43D2-9ACF-A118AAA326B5}" dt="2021-12-01T13:50:47.634" v="1681" actId="1076"/>
          <ac:cxnSpMkLst>
            <pc:docMk/>
            <pc:sldMk cId="1012809484" sldId="349"/>
            <ac:cxnSpMk id="46" creationId="{DC24404C-5A9F-4543-AC20-1E9492F1DF9F}"/>
          </ac:cxnSpMkLst>
        </pc:cxnChg>
      </pc:sldChg>
      <pc:sldChg chg="modSp add mod">
        <pc:chgData name="KiHa" userId="cca1b23a-f8aa-456a-973c-70ee1e38d8b1" providerId="ADAL" clId="{84D98C98-43B8-43D2-9ACF-A118AAA326B5}" dt="2021-12-02T12:21:33.068" v="8563" actId="20577"/>
        <pc:sldMkLst>
          <pc:docMk/>
          <pc:sldMk cId="2060147569" sldId="350"/>
        </pc:sldMkLst>
        <pc:spChg chg="mod">
          <ac:chgData name="KiHa" userId="cca1b23a-f8aa-456a-973c-70ee1e38d8b1" providerId="ADAL" clId="{84D98C98-43B8-43D2-9ACF-A118AAA326B5}" dt="2021-12-02T12:21:33.068" v="8563" actId="20577"/>
          <ac:spMkLst>
            <pc:docMk/>
            <pc:sldMk cId="2060147569" sldId="350"/>
            <ac:spMk id="3" creationId="{43114BF9-0E2F-4314-9012-1D01C101937F}"/>
          </ac:spMkLst>
        </pc:spChg>
      </pc:sldChg>
      <pc:sldChg chg="addSp delSp modSp add mod">
        <pc:chgData name="KiHa" userId="cca1b23a-f8aa-456a-973c-70ee1e38d8b1" providerId="ADAL" clId="{84D98C98-43B8-43D2-9ACF-A118AAA326B5}" dt="2021-12-02T12:24:08.475" v="8569" actId="1076"/>
        <pc:sldMkLst>
          <pc:docMk/>
          <pc:sldMk cId="1713923116" sldId="351"/>
        </pc:sldMkLst>
        <pc:spChg chg="mod">
          <ac:chgData name="KiHa" userId="cca1b23a-f8aa-456a-973c-70ee1e38d8b1" providerId="ADAL" clId="{84D98C98-43B8-43D2-9ACF-A118AAA326B5}" dt="2021-12-01T13:52:49.032" v="1774" actId="20577"/>
          <ac:spMkLst>
            <pc:docMk/>
            <pc:sldMk cId="1713923116" sldId="351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7" creationId="{BB25E32B-0417-4083-B3C7-7E1FFF61AD7A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8" creationId="{9915ACCA-A7A3-4E97-9045-4F4A83E55CDC}"/>
          </ac:spMkLst>
        </pc:spChg>
        <pc:spChg chg="add del mod">
          <ac:chgData name="KiHa" userId="cca1b23a-f8aa-456a-973c-70ee1e38d8b1" providerId="ADAL" clId="{84D98C98-43B8-43D2-9ACF-A118AAA326B5}" dt="2021-12-02T12:24:03.314" v="8567" actId="478"/>
          <ac:spMkLst>
            <pc:docMk/>
            <pc:sldMk cId="1713923116" sldId="351"/>
            <ac:spMk id="9" creationId="{9490466A-4793-46AF-9E6B-C3E4850E3679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10" creationId="{00B9C73A-AEDD-4C60-B076-BBDA2CC0FE0E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11" creationId="{3140E4C1-3617-4456-9FF6-82DD58F35DBD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17" creationId="{9FFE803F-23FD-4222-8CB5-51DCF39AC370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18" creationId="{9F22DE90-3D34-46F7-9303-1A2488AC6E43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22" creationId="{A401D3BD-7B88-44B3-9D71-98BC51CA69E9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23" creationId="{C7B1362F-C96B-4F8B-9A86-7C8E0759AE5F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24" creationId="{5B5956E4-4ED7-4818-87B1-A430E348E017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27" creationId="{E189D494-89AE-4377-ACCF-0AD6A0DD05EC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1" creationId="{553E9999-75FE-4763-944D-E6AC841512B4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2" creationId="{C30B9587-C7CD-43B0-80B4-D7310B4C15B3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3" creationId="{D111B471-D66F-487D-8298-1BEC712D31FD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4" creationId="{81181E48-9F65-4A84-81F2-365793DACF6E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5" creationId="{7B0C6C45-39F0-49D7-9ADA-EF246E5DCA89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6" creationId="{022D911B-7060-490F-B426-998411E4FF15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7" creationId="{14248369-5ECD-4DDC-9B84-34C31FF31E03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38" creationId="{8D17616B-3F61-4CFC-BB4A-2095B483F434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48" creationId="{A108AA30-307C-40F6-88DB-98FD63F21507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49" creationId="{61BCF456-D26C-4BC5-845F-A77B13E9FBFD}"/>
          </ac:spMkLst>
        </pc:spChg>
        <pc:spChg chg="del">
          <ac:chgData name="KiHa" userId="cca1b23a-f8aa-456a-973c-70ee1e38d8b1" providerId="ADAL" clId="{84D98C98-43B8-43D2-9ACF-A118AAA326B5}" dt="2021-12-01T13:52:53.595" v="1775" actId="478"/>
          <ac:spMkLst>
            <pc:docMk/>
            <pc:sldMk cId="1713923116" sldId="351"/>
            <ac:spMk id="50" creationId="{AC0F2081-826E-4A39-8B79-FE4A37B8C7DF}"/>
          </ac:spMkLst>
        </pc:spChg>
        <pc:picChg chg="add mod">
          <ac:chgData name="KiHa" userId="cca1b23a-f8aa-456a-973c-70ee1e38d8b1" providerId="ADAL" clId="{84D98C98-43B8-43D2-9ACF-A118AAA326B5}" dt="2021-12-02T12:24:08.475" v="8569" actId="1076"/>
          <ac:picMkLst>
            <pc:docMk/>
            <pc:sldMk cId="1713923116" sldId="351"/>
            <ac:picMk id="6" creationId="{0873A5BA-E0C8-44CB-984A-015D64296AEE}"/>
          </ac:picMkLst>
        </pc:picChg>
        <pc:cxnChg chg="del mod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13" creationId="{D9FF56EC-917F-4C80-80BA-063E1E5C8692}"/>
          </ac:cxnSpMkLst>
        </pc:cxnChg>
        <pc:cxnChg chg="del mod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14" creationId="{264A3690-8CFB-4E94-8962-A33285BEF049}"/>
          </ac:cxnSpMkLst>
        </pc:cxnChg>
        <pc:cxnChg chg="del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20" creationId="{D30350C9-1388-46D1-B7E4-7BFABF2B2F4C}"/>
          </ac:cxnSpMkLst>
        </pc:cxnChg>
        <pc:cxnChg chg="del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21" creationId="{BE710477-3D33-4223-BB39-F9211084B1AA}"/>
          </ac:cxnSpMkLst>
        </pc:cxnChg>
        <pc:cxnChg chg="del mod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29" creationId="{57152F80-EBF1-4952-BECA-53FB29F47299}"/>
          </ac:cxnSpMkLst>
        </pc:cxnChg>
        <pc:cxnChg chg="del mod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40" creationId="{60A4A2B8-6885-4AB0-8797-321DDCD6E0E2}"/>
          </ac:cxnSpMkLst>
        </pc:cxnChg>
        <pc:cxnChg chg="del mod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41" creationId="{4D288444-2CE5-4B68-871B-42DA487C8278}"/>
          </ac:cxnSpMkLst>
        </pc:cxnChg>
        <pc:cxnChg chg="del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45" creationId="{C812E934-C047-4FEE-8FEA-A7E4799707AA}"/>
          </ac:cxnSpMkLst>
        </pc:cxnChg>
        <pc:cxnChg chg="del">
          <ac:chgData name="KiHa" userId="cca1b23a-f8aa-456a-973c-70ee1e38d8b1" providerId="ADAL" clId="{84D98C98-43B8-43D2-9ACF-A118AAA326B5}" dt="2021-12-01T13:52:53.595" v="1775" actId="478"/>
          <ac:cxnSpMkLst>
            <pc:docMk/>
            <pc:sldMk cId="1713923116" sldId="351"/>
            <ac:cxnSpMk id="46" creationId="{DC24404C-5A9F-4543-AC20-1E9492F1DF9F}"/>
          </ac:cxnSpMkLst>
        </pc:cxnChg>
      </pc:sldChg>
      <pc:sldChg chg="addSp delSp modSp add mod ord">
        <pc:chgData name="KiHa" userId="cca1b23a-f8aa-456a-973c-70ee1e38d8b1" providerId="ADAL" clId="{84D98C98-43B8-43D2-9ACF-A118AAA326B5}" dt="2021-12-02T12:22:33.441" v="8565" actId="1076"/>
        <pc:sldMkLst>
          <pc:docMk/>
          <pc:sldMk cId="927494287" sldId="352"/>
        </pc:sldMkLst>
        <pc:spChg chg="mod">
          <ac:chgData name="KiHa" userId="cca1b23a-f8aa-456a-973c-70ee1e38d8b1" providerId="ADAL" clId="{84D98C98-43B8-43D2-9ACF-A118AAA326B5}" dt="2021-12-01T14:07:01.790" v="1910" actId="20577"/>
          <ac:spMkLst>
            <pc:docMk/>
            <pc:sldMk cId="927494287" sldId="352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7" creationId="{BB25E32B-0417-4083-B3C7-7E1FFF61AD7A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8" creationId="{9915ACCA-A7A3-4E97-9045-4F4A83E55CDC}"/>
          </ac:spMkLst>
        </pc:spChg>
        <pc:spChg chg="add mod">
          <ac:chgData name="KiHa" userId="cca1b23a-f8aa-456a-973c-70ee1e38d8b1" providerId="ADAL" clId="{84D98C98-43B8-43D2-9ACF-A118AAA326B5}" dt="2021-12-02T12:22:33.441" v="8565" actId="1076"/>
          <ac:spMkLst>
            <pc:docMk/>
            <pc:sldMk cId="927494287" sldId="352"/>
            <ac:spMk id="9" creationId="{11E643F6-2974-433A-BA2C-2CB6459E6ACD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10" creationId="{00B9C73A-AEDD-4C60-B076-BBDA2CC0FE0E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11" creationId="{3140E4C1-3617-4456-9FF6-82DD58F35DBD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17" creationId="{9FFE803F-23FD-4222-8CB5-51DCF39AC370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18" creationId="{9F22DE90-3D34-46F7-9303-1A2488AC6E43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22" creationId="{A401D3BD-7B88-44B3-9D71-98BC51CA69E9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23" creationId="{C7B1362F-C96B-4F8B-9A86-7C8E0759AE5F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24" creationId="{5B5956E4-4ED7-4818-87B1-A430E348E017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27" creationId="{E189D494-89AE-4377-ACCF-0AD6A0DD05EC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1" creationId="{553E9999-75FE-4763-944D-E6AC841512B4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2" creationId="{C30B9587-C7CD-43B0-80B4-D7310B4C15B3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3" creationId="{D111B471-D66F-487D-8298-1BEC712D31FD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4" creationId="{81181E48-9F65-4A84-81F2-365793DACF6E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5" creationId="{7B0C6C45-39F0-49D7-9ADA-EF246E5DCA89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6" creationId="{022D911B-7060-490F-B426-998411E4FF15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7" creationId="{14248369-5ECD-4DDC-9B84-34C31FF31E03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38" creationId="{8D17616B-3F61-4CFC-BB4A-2095B483F434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48" creationId="{A108AA30-307C-40F6-88DB-98FD63F21507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49" creationId="{61BCF456-D26C-4BC5-845F-A77B13E9FBFD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50" creationId="{AC0F2081-826E-4A39-8B79-FE4A37B8C7DF}"/>
          </ac:spMkLst>
        </pc:spChg>
        <pc:spChg chg="del">
          <ac:chgData name="KiHa" userId="cca1b23a-f8aa-456a-973c-70ee1e38d8b1" providerId="ADAL" clId="{84D98C98-43B8-43D2-9ACF-A118AAA326B5}" dt="2021-12-01T14:07:06.846" v="1911" actId="478"/>
          <ac:spMkLst>
            <pc:docMk/>
            <pc:sldMk cId="927494287" sldId="352"/>
            <ac:spMk id="51" creationId="{6178F03A-EBBF-48E3-B05C-C5AFF4474104}"/>
          </ac:spMkLst>
        </pc:spChg>
        <pc:picChg chg="add mod">
          <ac:chgData name="KiHa" userId="cca1b23a-f8aa-456a-973c-70ee1e38d8b1" providerId="ADAL" clId="{84D98C98-43B8-43D2-9ACF-A118AAA326B5}" dt="2021-12-02T10:58:42.377" v="7893" actId="1076"/>
          <ac:picMkLst>
            <pc:docMk/>
            <pc:sldMk cId="927494287" sldId="352"/>
            <ac:picMk id="6" creationId="{B3CE235A-1122-48AE-912A-A814757DAA1D}"/>
          </ac:picMkLst>
        </pc:picChg>
        <pc:cxnChg chg="del mod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13" creationId="{D9FF56EC-917F-4C80-80BA-063E1E5C8692}"/>
          </ac:cxnSpMkLst>
        </pc:cxnChg>
        <pc:cxnChg chg="del mod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14" creationId="{264A3690-8CFB-4E94-8962-A33285BEF049}"/>
          </ac:cxnSpMkLst>
        </pc:cxnChg>
        <pc:cxnChg chg="del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20" creationId="{D30350C9-1388-46D1-B7E4-7BFABF2B2F4C}"/>
          </ac:cxnSpMkLst>
        </pc:cxnChg>
        <pc:cxnChg chg="del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21" creationId="{BE710477-3D33-4223-BB39-F9211084B1AA}"/>
          </ac:cxnSpMkLst>
        </pc:cxnChg>
        <pc:cxnChg chg="del mod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29" creationId="{57152F80-EBF1-4952-BECA-53FB29F47299}"/>
          </ac:cxnSpMkLst>
        </pc:cxnChg>
        <pc:cxnChg chg="del mod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40" creationId="{60A4A2B8-6885-4AB0-8797-321DDCD6E0E2}"/>
          </ac:cxnSpMkLst>
        </pc:cxnChg>
        <pc:cxnChg chg="del mod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41" creationId="{4D288444-2CE5-4B68-871B-42DA487C8278}"/>
          </ac:cxnSpMkLst>
        </pc:cxnChg>
        <pc:cxnChg chg="del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45" creationId="{C812E934-C047-4FEE-8FEA-A7E4799707AA}"/>
          </ac:cxnSpMkLst>
        </pc:cxnChg>
        <pc:cxnChg chg="del">
          <ac:chgData name="KiHa" userId="cca1b23a-f8aa-456a-973c-70ee1e38d8b1" providerId="ADAL" clId="{84D98C98-43B8-43D2-9ACF-A118AAA326B5}" dt="2021-12-01T14:07:06.846" v="1911" actId="478"/>
          <ac:cxnSpMkLst>
            <pc:docMk/>
            <pc:sldMk cId="927494287" sldId="352"/>
            <ac:cxnSpMk id="46" creationId="{DC24404C-5A9F-4543-AC20-1E9492F1DF9F}"/>
          </ac:cxnSpMkLst>
        </pc:cxnChg>
      </pc:sldChg>
      <pc:sldChg chg="addSp delSp modSp add mod">
        <pc:chgData name="KiHa" userId="cca1b23a-f8aa-456a-973c-70ee1e38d8b1" providerId="ADAL" clId="{84D98C98-43B8-43D2-9ACF-A118AAA326B5}" dt="2021-12-02T12:25:59.652" v="8575" actId="1076"/>
        <pc:sldMkLst>
          <pc:docMk/>
          <pc:sldMk cId="844271664" sldId="353"/>
        </pc:sldMkLst>
        <pc:spChg chg="mod">
          <ac:chgData name="KiHa" userId="cca1b23a-f8aa-456a-973c-70ee1e38d8b1" providerId="ADAL" clId="{84D98C98-43B8-43D2-9ACF-A118AAA326B5}" dt="2021-12-01T14:17:45.413" v="2191" actId="20577"/>
          <ac:spMkLst>
            <pc:docMk/>
            <pc:sldMk cId="844271664" sldId="353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1T14:16:10.378" v="2177" actId="478"/>
          <ac:spMkLst>
            <pc:docMk/>
            <pc:sldMk cId="844271664" sldId="353"/>
            <ac:spMk id="9" creationId="{9490466A-4793-46AF-9E6B-C3E4850E3679}"/>
          </ac:spMkLst>
        </pc:spChg>
        <pc:spChg chg="add mo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16" creationId="{CD2E53B7-E059-4A7C-BCC7-CA2450C329A9}"/>
          </ac:spMkLst>
        </pc:spChg>
        <pc:spChg chg="add mo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22" creationId="{5EE48EC9-7F7C-488C-B988-F420E4D306D4}"/>
          </ac:spMkLst>
        </pc:spChg>
        <pc:spChg chg="add mo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23" creationId="{10EFF156-5C15-4978-A5AD-5AE5AE161243}"/>
          </ac:spMkLst>
        </pc:spChg>
        <pc:spChg chg="add mod">
          <ac:chgData name="KiHa" userId="cca1b23a-f8aa-456a-973c-70ee1e38d8b1" providerId="ADAL" clId="{84D98C98-43B8-43D2-9ACF-A118AAA326B5}" dt="2021-12-01T23:42:35.641" v="3010" actId="164"/>
          <ac:spMkLst>
            <pc:docMk/>
            <pc:sldMk cId="844271664" sldId="353"/>
            <ac:spMk id="24" creationId="{FF8D322D-0EE4-411E-98AF-C5E5113404A3}"/>
          </ac:spMkLst>
        </pc:spChg>
        <pc:spChg chg="add mod">
          <ac:chgData name="KiHa" userId="cca1b23a-f8aa-456a-973c-70ee1e38d8b1" providerId="ADAL" clId="{84D98C98-43B8-43D2-9ACF-A118AAA326B5}" dt="2021-12-01T23:42:35.641" v="3010" actId="164"/>
          <ac:spMkLst>
            <pc:docMk/>
            <pc:sldMk cId="844271664" sldId="353"/>
            <ac:spMk id="25" creationId="{280F4E0E-2C61-4333-BF9F-C441C592C0CA}"/>
          </ac:spMkLst>
        </pc:spChg>
        <pc:spChg chg="add mo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30" creationId="{06DBC0A8-E775-4B2B-8F11-A9F8CF5BE794}"/>
          </ac:spMkLst>
        </pc:spChg>
        <pc:spChg chg="add mod ord">
          <ac:chgData name="KiHa" userId="cca1b23a-f8aa-456a-973c-70ee1e38d8b1" providerId="ADAL" clId="{84D98C98-43B8-43D2-9ACF-A118AAA326B5}" dt="2021-12-01T23:42:35.641" v="3010" actId="164"/>
          <ac:spMkLst>
            <pc:docMk/>
            <pc:sldMk cId="844271664" sldId="353"/>
            <ac:spMk id="31" creationId="{9E0334A4-CF2E-497C-ABA4-5D2C037B49E1}"/>
          </ac:spMkLst>
        </pc:spChg>
        <pc:spChg chg="add mod or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33" creationId="{BAF66994-AB7D-4B38-9645-E634459011B4}"/>
          </ac:spMkLst>
        </pc:spChg>
        <pc:spChg chg="add mod or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34" creationId="{A2FBDF38-2157-4E21-8595-C4A254AB29DB}"/>
          </ac:spMkLst>
        </pc:spChg>
        <pc:spChg chg="add mod or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35" creationId="{22D91CB7-1557-47D0-8E6A-8AC1CCB95F17}"/>
          </ac:spMkLst>
        </pc:spChg>
        <pc:spChg chg="add mod or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36" creationId="{820A01E7-407E-42E5-8A3A-A0ED581D955A}"/>
          </ac:spMkLst>
        </pc:spChg>
        <pc:spChg chg="add mod">
          <ac:chgData name="KiHa" userId="cca1b23a-f8aa-456a-973c-70ee1e38d8b1" providerId="ADAL" clId="{84D98C98-43B8-43D2-9ACF-A118AAA326B5}" dt="2021-12-02T12:25:59.652" v="8575" actId="1076"/>
          <ac:spMkLst>
            <pc:docMk/>
            <pc:sldMk cId="844271664" sldId="353"/>
            <ac:spMk id="37" creationId="{234627DF-B69A-4C39-BC7A-C8F0ED7CC224}"/>
          </ac:spMkLst>
        </pc:spChg>
        <pc:grpChg chg="add mod">
          <ac:chgData name="KiHa" userId="cca1b23a-f8aa-456a-973c-70ee1e38d8b1" providerId="ADAL" clId="{84D98C98-43B8-43D2-9ACF-A118AAA326B5}" dt="2021-12-02T12:25:59.652" v="8575" actId="1076"/>
          <ac:grpSpMkLst>
            <pc:docMk/>
            <pc:sldMk cId="844271664" sldId="353"/>
            <ac:grpSpMk id="32" creationId="{81B769EC-634E-41BF-B301-31C5A56B767F}"/>
          </ac:grpSpMkLst>
        </pc:grpChg>
        <pc:picChg chg="del">
          <ac:chgData name="KiHa" userId="cca1b23a-f8aa-456a-973c-70ee1e38d8b1" providerId="ADAL" clId="{84D98C98-43B8-43D2-9ACF-A118AAA326B5}" dt="2021-12-01T14:16:10.378" v="2177" actId="478"/>
          <ac:picMkLst>
            <pc:docMk/>
            <pc:sldMk cId="844271664" sldId="353"/>
            <ac:picMk id="6" creationId="{0873A5BA-E0C8-44CB-984A-015D64296AEE}"/>
          </ac:picMkLst>
        </pc:picChg>
        <pc:picChg chg="add del mod">
          <ac:chgData name="KiHa" userId="cca1b23a-f8aa-456a-973c-70ee1e38d8b1" providerId="ADAL" clId="{84D98C98-43B8-43D2-9ACF-A118AAA326B5}" dt="2021-12-01T14:20:52.517" v="2256" actId="478"/>
          <ac:picMkLst>
            <pc:docMk/>
            <pc:sldMk cId="844271664" sldId="353"/>
            <ac:picMk id="11" creationId="{BC3F0655-B2D9-43D9-80CA-1017CE091D09}"/>
          </ac:picMkLst>
        </pc:picChg>
        <pc:picChg chg="add mod">
          <ac:chgData name="KiHa" userId="cca1b23a-f8aa-456a-973c-70ee1e38d8b1" providerId="ADAL" clId="{84D98C98-43B8-43D2-9ACF-A118AAA326B5}" dt="2021-12-02T12:25:54.221" v="8574" actId="1076"/>
          <ac:picMkLst>
            <pc:docMk/>
            <pc:sldMk cId="844271664" sldId="353"/>
            <ac:picMk id="13" creationId="{33A16F06-01DF-4C3B-AA9E-37EDDD0C49EA}"/>
          </ac:picMkLst>
        </pc:picChg>
        <pc:picChg chg="add del mod">
          <ac:chgData name="KiHa" userId="cca1b23a-f8aa-456a-973c-70ee1e38d8b1" providerId="ADAL" clId="{84D98C98-43B8-43D2-9ACF-A118AAA326B5}" dt="2021-12-01T23:37:47.488" v="2886" actId="478"/>
          <ac:picMkLst>
            <pc:docMk/>
            <pc:sldMk cId="844271664" sldId="353"/>
            <ac:picMk id="14" creationId="{F49AF9AE-A928-4306-B2F5-4984EE29F401}"/>
          </ac:picMkLst>
        </pc:picChg>
        <pc:picChg chg="add del mod">
          <ac:chgData name="KiHa" userId="cca1b23a-f8aa-456a-973c-70ee1e38d8b1" providerId="ADAL" clId="{84D98C98-43B8-43D2-9ACF-A118AAA326B5}" dt="2021-12-01T23:38:45.637" v="2923" actId="478"/>
          <ac:picMkLst>
            <pc:docMk/>
            <pc:sldMk cId="844271664" sldId="353"/>
            <ac:picMk id="15" creationId="{3C79CA7A-39A9-47C5-BA44-F5996E32C0D9}"/>
          </ac:picMkLst>
        </pc:picChg>
        <pc:picChg chg="add mod ord">
          <ac:chgData name="KiHa" userId="cca1b23a-f8aa-456a-973c-70ee1e38d8b1" providerId="ADAL" clId="{84D98C98-43B8-43D2-9ACF-A118AAA326B5}" dt="2021-12-02T12:25:59.652" v="8575" actId="1076"/>
          <ac:picMkLst>
            <pc:docMk/>
            <pc:sldMk cId="844271664" sldId="353"/>
            <ac:picMk id="17" creationId="{841FEC48-8E40-4998-9710-E4151786E4EF}"/>
          </ac:picMkLst>
        </pc:picChg>
        <pc:cxnChg chg="add del mod">
          <ac:chgData name="KiHa" userId="cca1b23a-f8aa-456a-973c-70ee1e38d8b1" providerId="ADAL" clId="{84D98C98-43B8-43D2-9ACF-A118AAA326B5}" dt="2021-12-01T14:17:41.293" v="2185" actId="478"/>
          <ac:cxnSpMkLst>
            <pc:docMk/>
            <pc:sldMk cId="844271664" sldId="353"/>
            <ac:cxnSpMk id="7" creationId="{D73CEE09-2D6B-4B38-9823-C53D4A45C25B}"/>
          </ac:cxnSpMkLst>
        </pc:cxnChg>
        <pc:cxnChg chg="add mod">
          <ac:chgData name="KiHa" userId="cca1b23a-f8aa-456a-973c-70ee1e38d8b1" providerId="ADAL" clId="{84D98C98-43B8-43D2-9ACF-A118AAA326B5}" dt="2021-12-02T12:25:59.652" v="8575" actId="1076"/>
          <ac:cxnSpMkLst>
            <pc:docMk/>
            <pc:sldMk cId="844271664" sldId="353"/>
            <ac:cxnSpMk id="19" creationId="{270FCAC0-3013-40D9-89A2-7BCBA7CE62B2}"/>
          </ac:cxnSpMkLst>
        </pc:cxnChg>
        <pc:cxnChg chg="add mod">
          <ac:chgData name="KiHa" userId="cca1b23a-f8aa-456a-973c-70ee1e38d8b1" providerId="ADAL" clId="{84D98C98-43B8-43D2-9ACF-A118AAA326B5}" dt="2021-12-02T12:25:59.652" v="8575" actId="1076"/>
          <ac:cxnSpMkLst>
            <pc:docMk/>
            <pc:sldMk cId="844271664" sldId="353"/>
            <ac:cxnSpMk id="20" creationId="{530DF488-295D-4D5B-A0EF-6C6EEB90FA52}"/>
          </ac:cxnSpMkLst>
        </pc:cxnChg>
        <pc:cxnChg chg="add mod">
          <ac:chgData name="KiHa" userId="cca1b23a-f8aa-456a-973c-70ee1e38d8b1" providerId="ADAL" clId="{84D98C98-43B8-43D2-9ACF-A118AAA326B5}" dt="2021-12-02T12:25:59.652" v="8575" actId="1076"/>
          <ac:cxnSpMkLst>
            <pc:docMk/>
            <pc:sldMk cId="844271664" sldId="353"/>
            <ac:cxnSpMk id="26" creationId="{6D19DC85-78E0-4808-83F4-0FACD6BE7573}"/>
          </ac:cxnSpMkLst>
        </pc:cxnChg>
        <pc:cxnChg chg="add mod">
          <ac:chgData name="KiHa" userId="cca1b23a-f8aa-456a-973c-70ee1e38d8b1" providerId="ADAL" clId="{84D98C98-43B8-43D2-9ACF-A118AAA326B5}" dt="2021-12-02T12:25:59.652" v="8575" actId="1076"/>
          <ac:cxnSpMkLst>
            <pc:docMk/>
            <pc:sldMk cId="844271664" sldId="353"/>
            <ac:cxnSpMk id="27" creationId="{23FDE887-D090-48E8-87C3-3B9EBE8950DB}"/>
          </ac:cxnSpMkLst>
        </pc:cxnChg>
      </pc:sldChg>
      <pc:sldChg chg="addSp delSp modSp add mod">
        <pc:chgData name="KiHa" userId="cca1b23a-f8aa-456a-973c-70ee1e38d8b1" providerId="ADAL" clId="{84D98C98-43B8-43D2-9ACF-A118AAA326B5}" dt="2021-12-02T12:26:51.964" v="8586" actId="14100"/>
        <pc:sldMkLst>
          <pc:docMk/>
          <pc:sldMk cId="2535777824" sldId="354"/>
        </pc:sldMkLst>
        <pc:spChg chg="mod">
          <ac:chgData name="KiHa" userId="cca1b23a-f8aa-456a-973c-70ee1e38d8b1" providerId="ADAL" clId="{84D98C98-43B8-43D2-9ACF-A118AAA326B5}" dt="2021-12-01T14:17:52.972" v="2194" actId="6549"/>
          <ac:spMkLst>
            <pc:docMk/>
            <pc:sldMk cId="2535777824" sldId="354"/>
            <ac:spMk id="2" creationId="{00000000-0000-0000-0000-000000000000}"/>
          </ac:spMkLst>
        </pc:spChg>
        <pc:spChg chg="add mod">
          <ac:chgData name="KiHa" userId="cca1b23a-f8aa-456a-973c-70ee1e38d8b1" providerId="ADAL" clId="{84D98C98-43B8-43D2-9ACF-A118AAA326B5}" dt="2021-12-01T23:43:01.686" v="3017" actId="1076"/>
          <ac:spMkLst>
            <pc:docMk/>
            <pc:sldMk cId="2535777824" sldId="354"/>
            <ac:spMk id="14" creationId="{52C97100-6832-4276-9352-2260F23737C3}"/>
          </ac:spMkLst>
        </pc:spChg>
        <pc:spChg chg="add mod">
          <ac:chgData name="KiHa" userId="cca1b23a-f8aa-456a-973c-70ee1e38d8b1" providerId="ADAL" clId="{84D98C98-43B8-43D2-9ACF-A118AAA326B5}" dt="2021-12-01T23:42:57.409" v="3016" actId="1076"/>
          <ac:spMkLst>
            <pc:docMk/>
            <pc:sldMk cId="2535777824" sldId="354"/>
            <ac:spMk id="15" creationId="{D93C2CF2-EC03-4C01-B0D3-F2C5E3EEA6FA}"/>
          </ac:spMkLst>
        </pc:spChg>
        <pc:spChg chg="add del mod">
          <ac:chgData name="KiHa" userId="cca1b23a-f8aa-456a-973c-70ee1e38d8b1" providerId="ADAL" clId="{84D98C98-43B8-43D2-9ACF-A118AAA326B5}" dt="2021-12-01T14:21:46.763" v="2281"/>
          <ac:spMkLst>
            <pc:docMk/>
            <pc:sldMk cId="2535777824" sldId="354"/>
            <ac:spMk id="16" creationId="{77AFFE01-83AD-430B-A44E-AEF273768F48}"/>
          </ac:spMkLst>
        </pc:spChg>
        <pc:spChg chg="add mod">
          <ac:chgData name="KiHa" userId="cca1b23a-f8aa-456a-973c-70ee1e38d8b1" providerId="ADAL" clId="{84D98C98-43B8-43D2-9ACF-A118AAA326B5}" dt="2021-12-01T23:43:34.324" v="3035" actId="20577"/>
          <ac:spMkLst>
            <pc:docMk/>
            <pc:sldMk cId="2535777824" sldId="354"/>
            <ac:spMk id="17" creationId="{6751A940-A136-4880-8446-F78B152D5A96}"/>
          </ac:spMkLst>
        </pc:spChg>
        <pc:spChg chg="mod">
          <ac:chgData name="KiHa" userId="cca1b23a-f8aa-456a-973c-70ee1e38d8b1" providerId="ADAL" clId="{84D98C98-43B8-43D2-9ACF-A118AAA326B5}" dt="2021-12-02T10:38:35.435" v="7801" actId="1076"/>
          <ac:spMkLst>
            <pc:docMk/>
            <pc:sldMk cId="2535777824" sldId="354"/>
            <ac:spMk id="19" creationId="{0210E89F-C0FE-4EA3-85F7-2ED70B4016FA}"/>
          </ac:spMkLst>
        </pc:spChg>
        <pc:spChg chg="mod">
          <ac:chgData name="KiHa" userId="cca1b23a-f8aa-456a-973c-70ee1e38d8b1" providerId="ADAL" clId="{84D98C98-43B8-43D2-9ACF-A118AAA326B5}" dt="2021-12-02T10:38:40.523" v="7804" actId="113"/>
          <ac:spMkLst>
            <pc:docMk/>
            <pc:sldMk cId="2535777824" sldId="354"/>
            <ac:spMk id="20" creationId="{B30AF5D5-28DC-4B35-AD6C-41CF64EE33B3}"/>
          </ac:spMkLst>
        </pc:spChg>
        <pc:spChg chg="mod">
          <ac:chgData name="KiHa" userId="cca1b23a-f8aa-456a-973c-70ee1e38d8b1" providerId="ADAL" clId="{84D98C98-43B8-43D2-9ACF-A118AAA326B5}" dt="2021-12-02T10:38:44.192" v="7805" actId="113"/>
          <ac:spMkLst>
            <pc:docMk/>
            <pc:sldMk cId="2535777824" sldId="354"/>
            <ac:spMk id="21" creationId="{A042757E-931E-447B-A7E5-A9EC223150E5}"/>
          </ac:spMkLst>
        </pc:spChg>
        <pc:spChg chg="add mod">
          <ac:chgData name="KiHa" userId="cca1b23a-f8aa-456a-973c-70ee1e38d8b1" providerId="ADAL" clId="{84D98C98-43B8-43D2-9ACF-A118AAA326B5}" dt="2021-12-01T23:47:44.223" v="3094" actId="20577"/>
          <ac:spMkLst>
            <pc:docMk/>
            <pc:sldMk cId="2535777824" sldId="354"/>
            <ac:spMk id="22" creationId="{4F250A71-3670-4838-B5C8-93BFB6529C48}"/>
          </ac:spMkLst>
        </pc:spChg>
        <pc:spChg chg="add mod">
          <ac:chgData name="KiHa" userId="cca1b23a-f8aa-456a-973c-70ee1e38d8b1" providerId="ADAL" clId="{84D98C98-43B8-43D2-9ACF-A118AAA326B5}" dt="2021-12-01T23:50:51.269" v="3145" actId="6549"/>
          <ac:spMkLst>
            <pc:docMk/>
            <pc:sldMk cId="2535777824" sldId="354"/>
            <ac:spMk id="26" creationId="{FC483285-8D7A-46E6-BB10-5B9BDBF4B804}"/>
          </ac:spMkLst>
        </pc:spChg>
        <pc:grpChg chg="add mod">
          <ac:chgData name="KiHa" userId="cca1b23a-f8aa-456a-973c-70ee1e38d8b1" providerId="ADAL" clId="{84D98C98-43B8-43D2-9ACF-A118AAA326B5}" dt="2021-12-01T23:43:07.002" v="3018" actId="1076"/>
          <ac:grpSpMkLst>
            <pc:docMk/>
            <pc:sldMk cId="2535777824" sldId="354"/>
            <ac:grpSpMk id="18" creationId="{6E11A697-67EE-491A-8174-49EDA7CBA8AC}"/>
          </ac:grpSpMkLst>
        </pc:grpChg>
        <pc:picChg chg="add del">
          <ac:chgData name="KiHa" userId="cca1b23a-f8aa-456a-973c-70ee1e38d8b1" providerId="ADAL" clId="{84D98C98-43B8-43D2-9ACF-A118AAA326B5}" dt="2021-12-01T14:18:23.344" v="2197" actId="478"/>
          <ac:picMkLst>
            <pc:docMk/>
            <pc:sldMk cId="2535777824" sldId="354"/>
            <ac:picMk id="6" creationId="{7D2B21A8-5CD0-4D67-9A3B-1E3C783FCF0A}"/>
          </ac:picMkLst>
        </pc:picChg>
        <pc:picChg chg="add mod">
          <ac:chgData name="KiHa" userId="cca1b23a-f8aa-456a-973c-70ee1e38d8b1" providerId="ADAL" clId="{84D98C98-43B8-43D2-9ACF-A118AAA326B5}" dt="2021-12-01T14:20:32.946" v="2255" actId="1076"/>
          <ac:picMkLst>
            <pc:docMk/>
            <pc:sldMk cId="2535777824" sldId="354"/>
            <ac:picMk id="8" creationId="{E11EB929-6365-4C2C-A764-880DA9523CDD}"/>
          </ac:picMkLst>
        </pc:picChg>
        <pc:picChg chg="add mod">
          <ac:chgData name="KiHa" userId="cca1b23a-f8aa-456a-973c-70ee1e38d8b1" providerId="ADAL" clId="{84D98C98-43B8-43D2-9ACF-A118AAA326B5}" dt="2021-12-02T10:38:51.614" v="7809" actId="1076"/>
          <ac:picMkLst>
            <pc:docMk/>
            <pc:sldMk cId="2535777824" sldId="354"/>
            <ac:picMk id="10" creationId="{AF8E9EB9-9724-4440-B4BE-8EBB076027CE}"/>
          </ac:picMkLst>
        </pc:picChg>
        <pc:picChg chg="del">
          <ac:chgData name="KiHa" userId="cca1b23a-f8aa-456a-973c-70ee1e38d8b1" providerId="ADAL" clId="{84D98C98-43B8-43D2-9ACF-A118AAA326B5}" dt="2021-12-01T14:17:54.975" v="2195" actId="478"/>
          <ac:picMkLst>
            <pc:docMk/>
            <pc:sldMk cId="2535777824" sldId="354"/>
            <ac:picMk id="11" creationId="{BC3F0655-B2D9-43D9-80CA-1017CE091D09}"/>
          </ac:picMkLst>
        </pc:picChg>
        <pc:picChg chg="add mod">
          <ac:chgData name="KiHa" userId="cca1b23a-f8aa-456a-973c-70ee1e38d8b1" providerId="ADAL" clId="{84D98C98-43B8-43D2-9ACF-A118AAA326B5}" dt="2021-12-02T10:38:48.065" v="7807" actId="1076"/>
          <ac:picMkLst>
            <pc:docMk/>
            <pc:sldMk cId="2535777824" sldId="354"/>
            <ac:picMk id="13" creationId="{013B3018-962C-4031-9862-E526382AC529}"/>
          </ac:picMkLst>
        </pc:picChg>
        <pc:cxnChg chg="add mod">
          <ac:chgData name="KiHa" userId="cca1b23a-f8aa-456a-973c-70ee1e38d8b1" providerId="ADAL" clId="{84D98C98-43B8-43D2-9ACF-A118AAA326B5}" dt="2021-12-01T23:47:01.294" v="3092" actId="17032"/>
          <ac:cxnSpMkLst>
            <pc:docMk/>
            <pc:sldMk cId="2535777824" sldId="354"/>
            <ac:cxnSpMk id="24" creationId="{F716229C-0E45-4263-B1D2-22A1835B37A3}"/>
          </ac:cxnSpMkLst>
        </pc:cxnChg>
        <pc:cxnChg chg="add mod">
          <ac:chgData name="KiHa" userId="cca1b23a-f8aa-456a-973c-70ee1e38d8b1" providerId="ADAL" clId="{84D98C98-43B8-43D2-9ACF-A118AAA326B5}" dt="2021-12-01T23:47:01.294" v="3092" actId="17032"/>
          <ac:cxnSpMkLst>
            <pc:docMk/>
            <pc:sldMk cId="2535777824" sldId="354"/>
            <ac:cxnSpMk id="27" creationId="{722E29EC-A433-4267-B307-C87FB3A7B4BC}"/>
          </ac:cxnSpMkLst>
        </pc:cxnChg>
        <pc:cxnChg chg="add mod">
          <ac:chgData name="KiHa" userId="cca1b23a-f8aa-456a-973c-70ee1e38d8b1" providerId="ADAL" clId="{84D98C98-43B8-43D2-9ACF-A118AAA326B5}" dt="2021-12-02T12:26:42.664" v="8583" actId="14100"/>
          <ac:cxnSpMkLst>
            <pc:docMk/>
            <pc:sldMk cId="2535777824" sldId="354"/>
            <ac:cxnSpMk id="31" creationId="{63133904-1751-48DD-AD22-5B1CCBDB464B}"/>
          </ac:cxnSpMkLst>
        </pc:cxnChg>
        <pc:cxnChg chg="add mod">
          <ac:chgData name="KiHa" userId="cca1b23a-f8aa-456a-973c-70ee1e38d8b1" providerId="ADAL" clId="{84D98C98-43B8-43D2-9ACF-A118AAA326B5}" dt="2021-12-02T12:26:37.837" v="8581" actId="14100"/>
          <ac:cxnSpMkLst>
            <pc:docMk/>
            <pc:sldMk cId="2535777824" sldId="354"/>
            <ac:cxnSpMk id="32" creationId="{8B231377-A0CE-489D-A703-25A398165E4E}"/>
          </ac:cxnSpMkLst>
        </pc:cxnChg>
        <pc:cxnChg chg="add mod">
          <ac:chgData name="KiHa" userId="cca1b23a-f8aa-456a-973c-70ee1e38d8b1" providerId="ADAL" clId="{84D98C98-43B8-43D2-9ACF-A118AAA326B5}" dt="2021-12-02T12:26:51.964" v="8586" actId="14100"/>
          <ac:cxnSpMkLst>
            <pc:docMk/>
            <pc:sldMk cId="2535777824" sldId="354"/>
            <ac:cxnSpMk id="36" creationId="{7EE65F26-2836-4E54-81CF-C10F0BAEE4BE}"/>
          </ac:cxnSpMkLst>
        </pc:cxn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37590682" sldId="355"/>
        </pc:sldMkLst>
      </pc:sldChg>
      <pc:sldChg chg="addSp delSp modSp add mod">
        <pc:chgData name="KiHa" userId="cca1b23a-f8aa-456a-973c-70ee1e38d8b1" providerId="ADAL" clId="{84D98C98-43B8-43D2-9ACF-A118AAA326B5}" dt="2021-12-04T01:12:44.068" v="8623" actId="20577"/>
        <pc:sldMkLst>
          <pc:docMk/>
          <pc:sldMk cId="3579290605" sldId="355"/>
        </pc:sldMkLst>
        <pc:spChg chg="mod">
          <ac:chgData name="KiHa" userId="cca1b23a-f8aa-456a-973c-70ee1e38d8b1" providerId="ADAL" clId="{84D98C98-43B8-43D2-9ACF-A118AAA326B5}" dt="2021-12-01T14:22:53.792" v="2311" actId="20577"/>
          <ac:spMkLst>
            <pc:docMk/>
            <pc:sldMk cId="3579290605" sldId="355"/>
            <ac:spMk id="2" creationId="{00000000-0000-0000-0000-000000000000}"/>
          </ac:spMkLst>
        </pc:spChg>
        <pc:spChg chg="add mod">
          <ac:chgData name="KiHa" userId="cca1b23a-f8aa-456a-973c-70ee1e38d8b1" providerId="ADAL" clId="{84D98C98-43B8-43D2-9ACF-A118AAA326B5}" dt="2021-12-02T00:01:50.040" v="3527" actId="1076"/>
          <ac:spMkLst>
            <pc:docMk/>
            <pc:sldMk cId="3579290605" sldId="355"/>
            <ac:spMk id="6" creationId="{2C624CD4-2EE8-4DC5-AE44-53C3FB9BD123}"/>
          </ac:spMkLst>
        </pc:spChg>
        <pc:spChg chg="add del mod">
          <ac:chgData name="KiHa" userId="cca1b23a-f8aa-456a-973c-70ee1e38d8b1" providerId="ADAL" clId="{84D98C98-43B8-43D2-9ACF-A118AAA326B5}" dt="2021-12-01T23:55:39.098" v="3243" actId="21"/>
          <ac:spMkLst>
            <pc:docMk/>
            <pc:sldMk cId="3579290605" sldId="355"/>
            <ac:spMk id="7" creationId="{EF63CF05-9EF0-4780-AB41-64C5E74650BA}"/>
          </ac:spMkLst>
        </pc:spChg>
        <pc:spChg chg="add mod">
          <ac:chgData name="KiHa" userId="cca1b23a-f8aa-456a-973c-70ee1e38d8b1" providerId="ADAL" clId="{84D98C98-43B8-43D2-9ACF-A118AAA326B5}" dt="2021-12-01T23:52:14.427" v="3150" actId="255"/>
          <ac:spMkLst>
            <pc:docMk/>
            <pc:sldMk cId="3579290605" sldId="355"/>
            <ac:spMk id="9" creationId="{0C35A9AD-8485-46A2-812A-B67F36E5FD65}"/>
          </ac:spMkLst>
        </pc:spChg>
        <pc:spChg chg="add mod">
          <ac:chgData name="KiHa" userId="cca1b23a-f8aa-456a-973c-70ee1e38d8b1" providerId="ADAL" clId="{84D98C98-43B8-43D2-9ACF-A118AAA326B5}" dt="2021-12-04T01:12:44.068" v="8623" actId="20577"/>
          <ac:spMkLst>
            <pc:docMk/>
            <pc:sldMk cId="3579290605" sldId="355"/>
            <ac:spMk id="17" creationId="{002B4B8D-5994-4C3C-AAFD-1A44078ACA19}"/>
          </ac:spMkLst>
        </pc:spChg>
        <pc:picChg chg="add del">
          <ac:chgData name="KiHa" userId="cca1b23a-f8aa-456a-973c-70ee1e38d8b1" providerId="ADAL" clId="{84D98C98-43B8-43D2-9ACF-A118AAA326B5}" dt="2021-12-01T23:54:03.779" v="3155" actId="478"/>
          <ac:picMkLst>
            <pc:docMk/>
            <pc:sldMk cId="3579290605" sldId="355"/>
            <ac:picMk id="10" creationId="{16A31728-1C09-4778-9C9C-6D5121A909EE}"/>
          </ac:picMkLst>
        </pc:picChg>
        <pc:picChg chg="add mod">
          <ac:chgData name="KiHa" userId="cca1b23a-f8aa-456a-973c-70ee1e38d8b1" providerId="ADAL" clId="{84D98C98-43B8-43D2-9ACF-A118AAA326B5}" dt="2021-12-02T10:39:08.485" v="7810" actId="1076"/>
          <ac:picMkLst>
            <pc:docMk/>
            <pc:sldMk cId="3579290605" sldId="355"/>
            <ac:picMk id="12" creationId="{F3957128-C0E9-4D3B-8C79-A46F13185819}"/>
          </ac:picMkLst>
        </pc:picChg>
        <pc:picChg chg="del">
          <ac:chgData name="KiHa" userId="cca1b23a-f8aa-456a-973c-70ee1e38d8b1" providerId="ADAL" clId="{84D98C98-43B8-43D2-9ACF-A118AAA326B5}" dt="2021-12-01T14:22:56.190" v="2312" actId="478"/>
          <ac:picMkLst>
            <pc:docMk/>
            <pc:sldMk cId="3579290605" sldId="355"/>
            <ac:picMk id="13" creationId="{33A16F06-01DF-4C3B-AA9E-37EDDD0C49EA}"/>
          </ac:picMkLst>
        </pc:picChg>
        <pc:picChg chg="add mod">
          <ac:chgData name="KiHa" userId="cca1b23a-f8aa-456a-973c-70ee1e38d8b1" providerId="ADAL" clId="{84D98C98-43B8-43D2-9ACF-A118AAA326B5}" dt="2021-12-02T00:01:43.928" v="3526" actId="1076"/>
          <ac:picMkLst>
            <pc:docMk/>
            <pc:sldMk cId="3579290605" sldId="355"/>
            <ac:picMk id="15" creationId="{75333733-FBAA-4D56-B5BC-BA4797F80B44}"/>
          </ac:picMkLst>
        </pc:picChg>
        <pc:picChg chg="add mod">
          <ac:chgData name="KiHa" userId="cca1b23a-f8aa-456a-973c-70ee1e38d8b1" providerId="ADAL" clId="{84D98C98-43B8-43D2-9ACF-A118AAA326B5}" dt="2021-12-01T23:58:01.982" v="3292" actId="1076"/>
          <ac:picMkLst>
            <pc:docMk/>
            <pc:sldMk cId="3579290605" sldId="355"/>
            <ac:picMk id="1026" creationId="{5D87450E-94A0-4EBA-BF57-4BC6A3140D58}"/>
          </ac:picMkLst>
        </pc:picChg>
      </pc:sldChg>
      <pc:sldChg chg="addSp delSp modSp add mod">
        <pc:chgData name="KiHa" userId="cca1b23a-f8aa-456a-973c-70ee1e38d8b1" providerId="ADAL" clId="{84D98C98-43B8-43D2-9ACF-A118AAA326B5}" dt="2021-12-02T12:16:46.422" v="8534" actId="20577"/>
        <pc:sldMkLst>
          <pc:docMk/>
          <pc:sldMk cId="875539023" sldId="356"/>
        </pc:sldMkLst>
        <pc:spChg chg="mod">
          <ac:chgData name="KiHa" userId="cca1b23a-f8aa-456a-973c-70ee1e38d8b1" providerId="ADAL" clId="{84D98C98-43B8-43D2-9ACF-A118AAA326B5}" dt="2021-12-01T14:23:51.914" v="2331" actId="6549"/>
          <ac:spMkLst>
            <pc:docMk/>
            <pc:sldMk cId="875539023" sldId="356"/>
            <ac:spMk id="2" creationId="{00000000-0000-0000-0000-000000000000}"/>
          </ac:spMkLst>
        </pc:spChg>
        <pc:spChg chg="mod">
          <ac:chgData name="KiHa" userId="cca1b23a-f8aa-456a-973c-70ee1e38d8b1" providerId="ADAL" clId="{84D98C98-43B8-43D2-9ACF-A118AAA326B5}" dt="2021-12-02T12:16:11.846" v="8510" actId="255"/>
          <ac:spMkLst>
            <pc:docMk/>
            <pc:sldMk cId="875539023" sldId="356"/>
            <ac:spMk id="3" creationId="{43114BF9-0E2F-4314-9012-1D01C101937F}"/>
          </ac:spMkLst>
        </pc:spChg>
        <pc:spChg chg="add del mod">
          <ac:chgData name="KiHa" userId="cca1b23a-f8aa-456a-973c-70ee1e38d8b1" providerId="ADAL" clId="{84D98C98-43B8-43D2-9ACF-A118AAA326B5}" dt="2021-12-02T07:20:28.946" v="7541" actId="478"/>
          <ac:spMkLst>
            <pc:docMk/>
            <pc:sldMk cId="875539023" sldId="356"/>
            <ac:spMk id="6" creationId="{E5FAE3FB-8564-45D9-9439-E2037B690240}"/>
          </ac:spMkLst>
        </pc:spChg>
        <pc:spChg chg="add del mod">
          <ac:chgData name="KiHa" userId="cca1b23a-f8aa-456a-973c-70ee1e38d8b1" providerId="ADAL" clId="{84D98C98-43B8-43D2-9ACF-A118AAA326B5}" dt="2021-12-02T07:20:28.946" v="7541" actId="478"/>
          <ac:spMkLst>
            <pc:docMk/>
            <pc:sldMk cId="875539023" sldId="356"/>
            <ac:spMk id="7" creationId="{ADF59E0A-E56A-48D1-A1BD-230AE1AC3973}"/>
          </ac:spMkLst>
        </pc:spChg>
        <pc:spChg chg="add mod">
          <ac:chgData name="KiHa" userId="cca1b23a-f8aa-456a-973c-70ee1e38d8b1" providerId="ADAL" clId="{84D98C98-43B8-43D2-9ACF-A118AAA326B5}" dt="2021-12-02T10:28:29.786" v="7783" actId="1076"/>
          <ac:spMkLst>
            <pc:docMk/>
            <pc:sldMk cId="875539023" sldId="356"/>
            <ac:spMk id="14" creationId="{D55F0AD8-22C3-4165-863B-0D034CBA19B5}"/>
          </ac:spMkLst>
        </pc:spChg>
        <pc:spChg chg="add mod">
          <ac:chgData name="KiHa" userId="cca1b23a-f8aa-456a-973c-70ee1e38d8b1" providerId="ADAL" clId="{84D98C98-43B8-43D2-9ACF-A118AAA326B5}" dt="2021-12-02T12:01:57.421" v="8373" actId="1076"/>
          <ac:spMkLst>
            <pc:docMk/>
            <pc:sldMk cId="875539023" sldId="356"/>
            <ac:spMk id="15" creationId="{79171C7A-45FB-4F39-92CC-DAE814CDD6FE}"/>
          </ac:spMkLst>
        </pc:spChg>
        <pc:spChg chg="add mod">
          <ac:chgData name="KiHa" userId="cca1b23a-f8aa-456a-973c-70ee1e38d8b1" providerId="ADAL" clId="{84D98C98-43B8-43D2-9ACF-A118AAA326B5}" dt="2021-12-02T10:28:29.786" v="7783" actId="1076"/>
          <ac:spMkLst>
            <pc:docMk/>
            <pc:sldMk cId="875539023" sldId="356"/>
            <ac:spMk id="16" creationId="{37A8731D-6A82-40C6-B82E-7635695E2270}"/>
          </ac:spMkLst>
        </pc:spChg>
        <pc:spChg chg="add mod">
          <ac:chgData name="KiHa" userId="cca1b23a-f8aa-456a-973c-70ee1e38d8b1" providerId="ADAL" clId="{84D98C98-43B8-43D2-9ACF-A118AAA326B5}" dt="2021-12-02T12:16:27.655" v="8517" actId="6549"/>
          <ac:spMkLst>
            <pc:docMk/>
            <pc:sldMk cId="875539023" sldId="356"/>
            <ac:spMk id="17" creationId="{4634B9D7-DDB9-43D9-BB7C-5E070E6522FF}"/>
          </ac:spMkLst>
        </pc:spChg>
        <pc:spChg chg="add mod">
          <ac:chgData name="KiHa" userId="cca1b23a-f8aa-456a-973c-70ee1e38d8b1" providerId="ADAL" clId="{84D98C98-43B8-43D2-9ACF-A118AAA326B5}" dt="2021-12-02T12:16:34.115" v="8522" actId="6549"/>
          <ac:spMkLst>
            <pc:docMk/>
            <pc:sldMk cId="875539023" sldId="356"/>
            <ac:spMk id="18" creationId="{4B3CC721-41DD-4E32-89D6-76F28253C942}"/>
          </ac:spMkLst>
        </pc:spChg>
        <pc:spChg chg="add mod">
          <ac:chgData name="KiHa" userId="cca1b23a-f8aa-456a-973c-70ee1e38d8b1" providerId="ADAL" clId="{84D98C98-43B8-43D2-9ACF-A118AAA326B5}" dt="2021-12-02T12:16:46.422" v="8534" actId="20577"/>
          <ac:spMkLst>
            <pc:docMk/>
            <pc:sldMk cId="875539023" sldId="356"/>
            <ac:spMk id="19" creationId="{3E16F00E-6C28-411F-A61A-581D429D7690}"/>
          </ac:spMkLst>
        </pc:spChg>
        <pc:picChg chg="add mod">
          <ac:chgData name="KiHa" userId="cca1b23a-f8aa-456a-973c-70ee1e38d8b1" providerId="ADAL" clId="{84D98C98-43B8-43D2-9ACF-A118AAA326B5}" dt="2021-12-02T10:25:46.435" v="7603" actId="1076"/>
          <ac:picMkLst>
            <pc:docMk/>
            <pc:sldMk cId="875539023" sldId="356"/>
            <ac:picMk id="9" creationId="{7E62B3B5-EDA2-4C38-85F1-ADD74D64FB62}"/>
          </ac:picMkLst>
        </pc:picChg>
        <pc:picChg chg="add mod">
          <ac:chgData name="KiHa" userId="cca1b23a-f8aa-456a-973c-70ee1e38d8b1" providerId="ADAL" clId="{84D98C98-43B8-43D2-9ACF-A118AAA326B5}" dt="2021-12-02T10:25:49.990" v="7605" actId="1076"/>
          <ac:picMkLst>
            <pc:docMk/>
            <pc:sldMk cId="875539023" sldId="356"/>
            <ac:picMk id="11" creationId="{6958FA35-45DA-4D34-A56C-69F35E906393}"/>
          </ac:picMkLst>
        </pc:picChg>
        <pc:picChg chg="add mod">
          <ac:chgData name="KiHa" userId="cca1b23a-f8aa-456a-973c-70ee1e38d8b1" providerId="ADAL" clId="{84D98C98-43B8-43D2-9ACF-A118AAA326B5}" dt="2021-12-02T12:06:30.475" v="8508" actId="1076"/>
          <ac:picMkLst>
            <pc:docMk/>
            <pc:sldMk cId="875539023" sldId="356"/>
            <ac:picMk id="13" creationId="{0DA976EB-8463-447D-9F07-D7915ECE5F25}"/>
          </ac:picMkLst>
        </pc:pic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2019578524" sldId="356"/>
        </pc:sldMkLst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2335185626" sldId="357"/>
        </pc:sldMkLst>
      </pc:sldChg>
      <pc:sldChg chg="addSp delSp modSp add del mod">
        <pc:chgData name="KiHa" userId="cca1b23a-f8aa-456a-973c-70ee1e38d8b1" providerId="ADAL" clId="{84D98C98-43B8-43D2-9ACF-A118AAA326B5}" dt="2021-12-02T11:18:42.179" v="7921" actId="14100"/>
        <pc:sldMkLst>
          <pc:docMk/>
          <pc:sldMk cId="4068812981" sldId="357"/>
        </pc:sldMkLst>
        <pc:spChg chg="mod">
          <ac:chgData name="KiHa" userId="cca1b23a-f8aa-456a-973c-70ee1e38d8b1" providerId="ADAL" clId="{84D98C98-43B8-43D2-9ACF-A118AAA326B5}" dt="2021-12-02T00:04:01.419" v="3659" actId="20577"/>
          <ac:spMkLst>
            <pc:docMk/>
            <pc:sldMk cId="4068812981" sldId="357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2T00:04:06.121" v="3660" actId="478"/>
          <ac:spMkLst>
            <pc:docMk/>
            <pc:sldMk cId="4068812981" sldId="357"/>
            <ac:spMk id="6" creationId="{2C624CD4-2EE8-4DC5-AE44-53C3FB9BD123}"/>
          </ac:spMkLst>
        </pc:spChg>
        <pc:spChg chg="del">
          <ac:chgData name="KiHa" userId="cca1b23a-f8aa-456a-973c-70ee1e38d8b1" providerId="ADAL" clId="{84D98C98-43B8-43D2-9ACF-A118AAA326B5}" dt="2021-12-02T00:04:06.121" v="3660" actId="478"/>
          <ac:spMkLst>
            <pc:docMk/>
            <pc:sldMk cId="4068812981" sldId="357"/>
            <ac:spMk id="9" creationId="{0C35A9AD-8485-46A2-812A-B67F36E5FD65}"/>
          </ac:spMkLst>
        </pc:spChg>
        <pc:spChg chg="add mod">
          <ac:chgData name="KiHa" userId="cca1b23a-f8aa-456a-973c-70ee1e38d8b1" providerId="ADAL" clId="{84D98C98-43B8-43D2-9ACF-A118AAA326B5}" dt="2021-12-02T00:26:17.878" v="3926" actId="1076"/>
          <ac:spMkLst>
            <pc:docMk/>
            <pc:sldMk cId="4068812981" sldId="357"/>
            <ac:spMk id="11" creationId="{719D8D8A-F3E4-4AC6-B056-045163E64D2D}"/>
          </ac:spMkLst>
        </pc:spChg>
        <pc:spChg chg="add mod">
          <ac:chgData name="KiHa" userId="cca1b23a-f8aa-456a-973c-70ee1e38d8b1" providerId="ADAL" clId="{84D98C98-43B8-43D2-9ACF-A118AAA326B5}" dt="2021-12-02T00:26:17.878" v="3926" actId="1076"/>
          <ac:spMkLst>
            <pc:docMk/>
            <pc:sldMk cId="4068812981" sldId="357"/>
            <ac:spMk id="16" creationId="{D790FDDC-AE00-44CB-8971-DBF970E62710}"/>
          </ac:spMkLst>
        </pc:spChg>
        <pc:spChg chg="del">
          <ac:chgData name="KiHa" userId="cca1b23a-f8aa-456a-973c-70ee1e38d8b1" providerId="ADAL" clId="{84D98C98-43B8-43D2-9ACF-A118AAA326B5}" dt="2021-12-02T00:04:06.121" v="3660" actId="478"/>
          <ac:spMkLst>
            <pc:docMk/>
            <pc:sldMk cId="4068812981" sldId="357"/>
            <ac:spMk id="17" creationId="{002B4B8D-5994-4C3C-AAFD-1A44078ACA19}"/>
          </ac:spMkLst>
        </pc:spChg>
        <pc:picChg chg="add del mod">
          <ac:chgData name="KiHa" userId="cca1b23a-f8aa-456a-973c-70ee1e38d8b1" providerId="ADAL" clId="{84D98C98-43B8-43D2-9ACF-A118AAA326B5}" dt="2021-12-02T00:22:06.290" v="3893" actId="478"/>
          <ac:picMkLst>
            <pc:docMk/>
            <pc:sldMk cId="4068812981" sldId="357"/>
            <ac:picMk id="7" creationId="{71B5C367-1C54-42A0-B414-15CFB364D7EC}"/>
          </ac:picMkLst>
        </pc:picChg>
        <pc:picChg chg="add del mod">
          <ac:chgData name="KiHa" userId="cca1b23a-f8aa-456a-973c-70ee1e38d8b1" providerId="ADAL" clId="{84D98C98-43B8-43D2-9ACF-A118AAA326B5}" dt="2021-12-02T00:22:16.618" v="3897" actId="478"/>
          <ac:picMkLst>
            <pc:docMk/>
            <pc:sldMk cId="4068812981" sldId="357"/>
            <ac:picMk id="10" creationId="{82B0B18B-24B2-4766-9918-DE8B409F570A}"/>
          </ac:picMkLst>
        </pc:picChg>
        <pc:picChg chg="del">
          <ac:chgData name="KiHa" userId="cca1b23a-f8aa-456a-973c-70ee1e38d8b1" providerId="ADAL" clId="{84D98C98-43B8-43D2-9ACF-A118AAA326B5}" dt="2021-12-02T00:04:06.121" v="3660" actId="478"/>
          <ac:picMkLst>
            <pc:docMk/>
            <pc:sldMk cId="4068812981" sldId="357"/>
            <ac:picMk id="12" creationId="{F3957128-C0E9-4D3B-8C79-A46F13185819}"/>
          </ac:picMkLst>
        </pc:picChg>
        <pc:picChg chg="add del mod">
          <ac:chgData name="KiHa" userId="cca1b23a-f8aa-456a-973c-70ee1e38d8b1" providerId="ADAL" clId="{84D98C98-43B8-43D2-9ACF-A118AAA326B5}" dt="2021-12-02T00:46:16.149" v="3936" actId="478"/>
          <ac:picMkLst>
            <pc:docMk/>
            <pc:sldMk cId="4068812981" sldId="357"/>
            <ac:picMk id="14" creationId="{C7D1239D-9CBA-47D7-820B-2F25DC0A86AE}"/>
          </ac:picMkLst>
        </pc:picChg>
        <pc:picChg chg="del">
          <ac:chgData name="KiHa" userId="cca1b23a-f8aa-456a-973c-70ee1e38d8b1" providerId="ADAL" clId="{84D98C98-43B8-43D2-9ACF-A118AAA326B5}" dt="2021-12-02T00:04:06.121" v="3660" actId="478"/>
          <ac:picMkLst>
            <pc:docMk/>
            <pc:sldMk cId="4068812981" sldId="357"/>
            <ac:picMk id="15" creationId="{75333733-FBAA-4D56-B5BC-BA4797F80B44}"/>
          </ac:picMkLst>
        </pc:picChg>
        <pc:picChg chg="add del mod">
          <ac:chgData name="KiHa" userId="cca1b23a-f8aa-456a-973c-70ee1e38d8b1" providerId="ADAL" clId="{84D98C98-43B8-43D2-9ACF-A118AAA326B5}" dt="2021-12-02T00:23:11.773" v="3909" actId="478"/>
          <ac:picMkLst>
            <pc:docMk/>
            <pc:sldMk cId="4068812981" sldId="357"/>
            <ac:picMk id="19" creationId="{1E11A7B4-091C-4897-9D8E-E5091E0EE64C}"/>
          </ac:picMkLst>
        </pc:picChg>
        <pc:picChg chg="add del mod">
          <ac:chgData name="KiHa" userId="cca1b23a-f8aa-456a-973c-70ee1e38d8b1" providerId="ADAL" clId="{84D98C98-43B8-43D2-9ACF-A118AAA326B5}" dt="2021-12-02T00:46:17.033" v="3937" actId="478"/>
          <ac:picMkLst>
            <pc:docMk/>
            <pc:sldMk cId="4068812981" sldId="357"/>
            <ac:picMk id="21" creationId="{A7C944E0-F0AA-43A8-BB42-F722C688DC78}"/>
          </ac:picMkLst>
        </pc:picChg>
        <pc:picChg chg="add mod">
          <ac:chgData name="KiHa" userId="cca1b23a-f8aa-456a-973c-70ee1e38d8b1" providerId="ADAL" clId="{84D98C98-43B8-43D2-9ACF-A118AAA326B5}" dt="2021-12-02T11:18:42.179" v="7921" actId="14100"/>
          <ac:picMkLst>
            <pc:docMk/>
            <pc:sldMk cId="4068812981" sldId="357"/>
            <ac:picMk id="23" creationId="{772874FE-04D3-4FC8-A9CD-2B3051979F61}"/>
          </ac:picMkLst>
        </pc:picChg>
        <pc:picChg chg="add mod">
          <ac:chgData name="KiHa" userId="cca1b23a-f8aa-456a-973c-70ee1e38d8b1" providerId="ADAL" clId="{84D98C98-43B8-43D2-9ACF-A118AAA326B5}" dt="2021-12-02T00:46:37.456" v="3941" actId="14100"/>
          <ac:picMkLst>
            <pc:docMk/>
            <pc:sldMk cId="4068812981" sldId="357"/>
            <ac:picMk id="25" creationId="{BCBEDB72-94B3-45A8-A56C-F45326264832}"/>
          </ac:picMkLst>
        </pc:picChg>
        <pc:picChg chg="add mod">
          <ac:chgData name="KiHa" userId="cca1b23a-f8aa-456a-973c-70ee1e38d8b1" providerId="ADAL" clId="{84D98C98-43B8-43D2-9ACF-A118AAA326B5}" dt="2021-12-02T10:39:21.305" v="7811" actId="1076"/>
          <ac:picMkLst>
            <pc:docMk/>
            <pc:sldMk cId="4068812981" sldId="357"/>
            <ac:picMk id="27" creationId="{746D6560-F859-4DED-8231-19CF14ED1F5F}"/>
          </ac:picMkLst>
        </pc:picChg>
        <pc:picChg chg="del">
          <ac:chgData name="KiHa" userId="cca1b23a-f8aa-456a-973c-70ee1e38d8b1" providerId="ADAL" clId="{84D98C98-43B8-43D2-9ACF-A118AAA326B5}" dt="2021-12-02T00:04:06.121" v="3660" actId="478"/>
          <ac:picMkLst>
            <pc:docMk/>
            <pc:sldMk cId="4068812981" sldId="357"/>
            <ac:picMk id="1026" creationId="{5D87450E-94A0-4EBA-BF57-4BC6A3140D58}"/>
          </ac:picMkLst>
        </pc:pic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1673677343" sldId="358"/>
        </pc:sldMkLst>
      </pc:sldChg>
      <pc:sldChg chg="addSp delSp modSp add mod addCm delCm">
        <pc:chgData name="KiHa" userId="cca1b23a-f8aa-456a-973c-70ee1e38d8b1" providerId="ADAL" clId="{84D98C98-43B8-43D2-9ACF-A118AAA326B5}" dt="2021-12-02T02:37:28.848" v="4222" actId="14100"/>
        <pc:sldMkLst>
          <pc:docMk/>
          <pc:sldMk cId="3825982682" sldId="358"/>
        </pc:sldMkLst>
        <pc:spChg chg="mod">
          <ac:chgData name="KiHa" userId="cca1b23a-f8aa-456a-973c-70ee1e38d8b1" providerId="ADAL" clId="{84D98C98-43B8-43D2-9ACF-A118AAA326B5}" dt="2021-12-02T01:49:35.631" v="4217" actId="20577"/>
          <ac:spMkLst>
            <pc:docMk/>
            <pc:sldMk cId="3825982682" sldId="358"/>
            <ac:spMk id="2" creationId="{00000000-0000-0000-0000-000000000000}"/>
          </ac:spMkLst>
        </pc:spChg>
        <pc:spChg chg="add mod">
          <ac:chgData name="KiHa" userId="cca1b23a-f8aa-456a-973c-70ee1e38d8b1" providerId="ADAL" clId="{84D98C98-43B8-43D2-9ACF-A118AAA326B5}" dt="2021-12-02T02:37:28.848" v="4222" actId="14100"/>
          <ac:spMkLst>
            <pc:docMk/>
            <pc:sldMk cId="3825982682" sldId="358"/>
            <ac:spMk id="7" creationId="{D1BC502F-3AA1-418F-9D28-23E23066AF08}"/>
          </ac:spMkLst>
        </pc:spChg>
        <pc:spChg chg="del">
          <ac:chgData name="KiHa" userId="cca1b23a-f8aa-456a-973c-70ee1e38d8b1" providerId="ADAL" clId="{84D98C98-43B8-43D2-9ACF-A118AAA326B5}" dt="2021-12-02T00:48:27.991" v="3959" actId="478"/>
          <ac:spMkLst>
            <pc:docMk/>
            <pc:sldMk cId="3825982682" sldId="358"/>
            <ac:spMk id="11" creationId="{719D8D8A-F3E4-4AC6-B056-045163E64D2D}"/>
          </ac:spMkLst>
        </pc:spChg>
        <pc:spChg chg="del mod">
          <ac:chgData name="KiHa" userId="cca1b23a-f8aa-456a-973c-70ee1e38d8b1" providerId="ADAL" clId="{84D98C98-43B8-43D2-9ACF-A118AAA326B5}" dt="2021-12-02T00:49:50.600" v="3968" actId="478"/>
          <ac:spMkLst>
            <pc:docMk/>
            <pc:sldMk cId="3825982682" sldId="358"/>
            <ac:spMk id="16" creationId="{D790FDDC-AE00-44CB-8971-DBF970E62710}"/>
          </ac:spMkLst>
        </pc:spChg>
        <pc:picChg chg="add mod">
          <ac:chgData name="KiHa" userId="cca1b23a-f8aa-456a-973c-70ee1e38d8b1" providerId="ADAL" clId="{84D98C98-43B8-43D2-9ACF-A118AAA326B5}" dt="2021-12-02T00:49:57.261" v="3969" actId="1076"/>
          <ac:picMkLst>
            <pc:docMk/>
            <pc:sldMk cId="3825982682" sldId="358"/>
            <ac:picMk id="6" creationId="{B75BEF03-26AA-49B1-9AD5-923E1F61CA2C}"/>
          </ac:picMkLst>
        </pc:picChg>
        <pc:picChg chg="add mod">
          <ac:chgData name="KiHa" userId="cca1b23a-f8aa-456a-973c-70ee1e38d8b1" providerId="ADAL" clId="{84D98C98-43B8-43D2-9ACF-A118AAA326B5}" dt="2021-12-02T00:51:47.335" v="3981" actId="14100"/>
          <ac:picMkLst>
            <pc:docMk/>
            <pc:sldMk cId="3825982682" sldId="358"/>
            <ac:picMk id="12" creationId="{3155725A-C62F-40BE-8731-0A65B2FAE2FD}"/>
          </ac:picMkLst>
        </pc:picChg>
        <pc:picChg chg="del mod">
          <ac:chgData name="KiHa" userId="cca1b23a-f8aa-456a-973c-70ee1e38d8b1" providerId="ADAL" clId="{84D98C98-43B8-43D2-9ACF-A118AAA326B5}" dt="2021-12-02T00:49:46.190" v="3967" actId="478"/>
          <ac:picMkLst>
            <pc:docMk/>
            <pc:sldMk cId="3825982682" sldId="358"/>
            <ac:picMk id="23" creationId="{772874FE-04D3-4FC8-A9CD-2B3051979F61}"/>
          </ac:picMkLst>
        </pc:picChg>
        <pc:picChg chg="del mod">
          <ac:chgData name="KiHa" userId="cca1b23a-f8aa-456a-973c-70ee1e38d8b1" providerId="ADAL" clId="{84D98C98-43B8-43D2-9ACF-A118AAA326B5}" dt="2021-12-02T00:48:29.102" v="3962" actId="478"/>
          <ac:picMkLst>
            <pc:docMk/>
            <pc:sldMk cId="3825982682" sldId="358"/>
            <ac:picMk id="25" creationId="{BCBEDB72-94B3-45A8-A56C-F45326264832}"/>
          </ac:picMkLst>
        </pc:picChg>
        <pc:picChg chg="del">
          <ac:chgData name="KiHa" userId="cca1b23a-f8aa-456a-973c-70ee1e38d8b1" providerId="ADAL" clId="{84D98C98-43B8-43D2-9ACF-A118AAA326B5}" dt="2021-12-02T00:48:28.425" v="3960" actId="478"/>
          <ac:picMkLst>
            <pc:docMk/>
            <pc:sldMk cId="3825982682" sldId="358"/>
            <ac:picMk id="27" creationId="{746D6560-F859-4DED-8231-19CF14ED1F5F}"/>
          </ac:picMkLst>
        </pc:picChg>
        <pc:cxnChg chg="add mod">
          <ac:chgData name="KiHa" userId="cca1b23a-f8aa-456a-973c-70ee1e38d8b1" providerId="ADAL" clId="{84D98C98-43B8-43D2-9ACF-A118AAA326B5}" dt="2021-12-02T02:37:28.848" v="4222" actId="14100"/>
          <ac:cxnSpMkLst>
            <pc:docMk/>
            <pc:sldMk cId="3825982682" sldId="358"/>
            <ac:cxnSpMk id="9" creationId="{52F91E69-5DFD-496C-AE74-014530B18D66}"/>
          </ac:cxnSpMkLst>
        </pc:cxnChg>
      </pc:sldChg>
      <pc:sldChg chg="addSp delSp modSp add mod">
        <pc:chgData name="KiHa" userId="cca1b23a-f8aa-456a-973c-70ee1e38d8b1" providerId="ADAL" clId="{84D98C98-43B8-43D2-9ACF-A118AAA326B5}" dt="2021-12-02T02:42:57.798" v="4231" actId="1076"/>
        <pc:sldMkLst>
          <pc:docMk/>
          <pc:sldMk cId="1752518523" sldId="359"/>
        </pc:sldMkLst>
        <pc:spChg chg="mod">
          <ac:chgData name="KiHa" userId="cca1b23a-f8aa-456a-973c-70ee1e38d8b1" providerId="ADAL" clId="{84D98C98-43B8-43D2-9ACF-A118AAA326B5}" dt="2021-12-02T01:11:37.069" v="4062" actId="20577"/>
          <ac:spMkLst>
            <pc:docMk/>
            <pc:sldMk cId="1752518523" sldId="359"/>
            <ac:spMk id="2" creationId="{00000000-0000-0000-0000-000000000000}"/>
          </ac:spMkLst>
        </pc:spChg>
        <pc:spChg chg="add mod">
          <ac:chgData name="KiHa" userId="cca1b23a-f8aa-456a-973c-70ee1e38d8b1" providerId="ADAL" clId="{84D98C98-43B8-43D2-9ACF-A118AAA326B5}" dt="2021-12-02T01:11:22.241" v="4056" actId="207"/>
          <ac:spMkLst>
            <pc:docMk/>
            <pc:sldMk cId="1752518523" sldId="359"/>
            <ac:spMk id="3" creationId="{FE91AC8F-9A53-4C96-98D9-DB7920FC3FE4}"/>
          </ac:spMkLst>
        </pc:spChg>
        <pc:spChg chg="del">
          <ac:chgData name="KiHa" userId="cca1b23a-f8aa-456a-973c-70ee1e38d8b1" providerId="ADAL" clId="{84D98C98-43B8-43D2-9ACF-A118AAA326B5}" dt="2021-12-02T00:57:28.946" v="3989" actId="478"/>
          <ac:spMkLst>
            <pc:docMk/>
            <pc:sldMk cId="1752518523" sldId="359"/>
            <ac:spMk id="7" creationId="{D1BC502F-3AA1-418F-9D28-23E23066AF08}"/>
          </ac:spMkLst>
        </pc:spChg>
        <pc:picChg chg="del">
          <ac:chgData name="KiHa" userId="cca1b23a-f8aa-456a-973c-70ee1e38d8b1" providerId="ADAL" clId="{84D98C98-43B8-43D2-9ACF-A118AAA326B5}" dt="2021-12-02T00:57:28.946" v="3989" actId="478"/>
          <ac:picMkLst>
            <pc:docMk/>
            <pc:sldMk cId="1752518523" sldId="359"/>
            <ac:picMk id="6" creationId="{B75BEF03-26AA-49B1-9AD5-923E1F61CA2C}"/>
          </ac:picMkLst>
        </pc:picChg>
        <pc:picChg chg="add del mod">
          <ac:chgData name="KiHa" userId="cca1b23a-f8aa-456a-973c-70ee1e38d8b1" providerId="ADAL" clId="{84D98C98-43B8-43D2-9ACF-A118AAA326B5}" dt="2021-12-02T01:08:54.302" v="4035" actId="478"/>
          <ac:picMkLst>
            <pc:docMk/>
            <pc:sldMk cId="1752518523" sldId="359"/>
            <ac:picMk id="10" creationId="{F80D3AAB-75D0-410E-B0A9-B5F5B9540834}"/>
          </ac:picMkLst>
        </pc:picChg>
        <pc:picChg chg="del">
          <ac:chgData name="KiHa" userId="cca1b23a-f8aa-456a-973c-70ee1e38d8b1" providerId="ADAL" clId="{84D98C98-43B8-43D2-9ACF-A118AAA326B5}" dt="2021-12-02T00:57:28.946" v="3989" actId="478"/>
          <ac:picMkLst>
            <pc:docMk/>
            <pc:sldMk cId="1752518523" sldId="359"/>
            <ac:picMk id="12" creationId="{3155725A-C62F-40BE-8731-0A65B2FAE2FD}"/>
          </ac:picMkLst>
        </pc:picChg>
        <pc:picChg chg="add mod">
          <ac:chgData name="KiHa" userId="cca1b23a-f8aa-456a-973c-70ee1e38d8b1" providerId="ADAL" clId="{84D98C98-43B8-43D2-9ACF-A118AAA326B5}" dt="2021-12-02T01:11:17.716" v="4053" actId="1076"/>
          <ac:picMkLst>
            <pc:docMk/>
            <pc:sldMk cId="1752518523" sldId="359"/>
            <ac:picMk id="13" creationId="{60E9A8F6-DA77-48AB-A84F-5CBCF7DD4704}"/>
          </ac:picMkLst>
        </pc:picChg>
        <pc:picChg chg="add del">
          <ac:chgData name="KiHa" userId="cca1b23a-f8aa-456a-973c-70ee1e38d8b1" providerId="ADAL" clId="{84D98C98-43B8-43D2-9ACF-A118AAA326B5}" dt="2021-12-02T01:10:48.458" v="4044" actId="478"/>
          <ac:picMkLst>
            <pc:docMk/>
            <pc:sldMk cId="1752518523" sldId="359"/>
            <ac:picMk id="15" creationId="{CC9D1791-C74D-4C17-8826-6F4D220A35F5}"/>
          </ac:picMkLst>
        </pc:picChg>
        <pc:picChg chg="add mod">
          <ac:chgData name="KiHa" userId="cca1b23a-f8aa-456a-973c-70ee1e38d8b1" providerId="ADAL" clId="{84D98C98-43B8-43D2-9ACF-A118AAA326B5}" dt="2021-12-02T02:42:57.798" v="4231" actId="1076"/>
          <ac:picMkLst>
            <pc:docMk/>
            <pc:sldMk cId="1752518523" sldId="359"/>
            <ac:picMk id="17" creationId="{420970C1-E17D-4540-ABD5-D36A6EFCC489}"/>
          </ac:picMkLst>
        </pc:picChg>
        <pc:cxnChg chg="del mod">
          <ac:chgData name="KiHa" userId="cca1b23a-f8aa-456a-973c-70ee1e38d8b1" providerId="ADAL" clId="{84D98C98-43B8-43D2-9ACF-A118AAA326B5}" dt="2021-12-02T00:57:28.946" v="3989" actId="478"/>
          <ac:cxnSpMkLst>
            <pc:docMk/>
            <pc:sldMk cId="1752518523" sldId="359"/>
            <ac:cxnSpMk id="9" creationId="{52F91E69-5DFD-496C-AE74-014530B18D66}"/>
          </ac:cxnSpMkLst>
        </pc:cxn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4263353953" sldId="359"/>
        </pc:sldMkLst>
      </pc:sldChg>
      <pc:sldChg chg="addSp delSp modSp add del mod">
        <pc:chgData name="KiHa" userId="cca1b23a-f8aa-456a-973c-70ee1e38d8b1" providerId="ADAL" clId="{84D98C98-43B8-43D2-9ACF-A118AAA326B5}" dt="2021-12-02T12:01:42.358" v="8372" actId="1076"/>
        <pc:sldMkLst>
          <pc:docMk/>
          <pc:sldMk cId="111834544" sldId="360"/>
        </pc:sldMkLst>
        <pc:spChg chg="mod">
          <ac:chgData name="KiHa" userId="cca1b23a-f8aa-456a-973c-70ee1e38d8b1" providerId="ADAL" clId="{84D98C98-43B8-43D2-9ACF-A118AAA326B5}" dt="2021-12-02T01:14:46.116" v="4138" actId="20577"/>
          <ac:spMkLst>
            <pc:docMk/>
            <pc:sldMk cId="111834544" sldId="360"/>
            <ac:spMk id="2" creationId="{00000000-0000-0000-0000-000000000000}"/>
          </ac:spMkLst>
        </pc:spChg>
        <pc:spChg chg="mod">
          <ac:chgData name="KiHa" userId="cca1b23a-f8aa-456a-973c-70ee1e38d8b1" providerId="ADAL" clId="{84D98C98-43B8-43D2-9ACF-A118AAA326B5}" dt="2021-12-02T01:13:35.082" v="4109" actId="20577"/>
          <ac:spMkLst>
            <pc:docMk/>
            <pc:sldMk cId="111834544" sldId="360"/>
            <ac:spMk id="3" creationId="{FE91AC8F-9A53-4C96-98D9-DB7920FC3FE4}"/>
          </ac:spMkLst>
        </pc:spChg>
        <pc:spChg chg="add mod">
          <ac:chgData name="KiHa" userId="cca1b23a-f8aa-456a-973c-70ee1e38d8b1" providerId="ADAL" clId="{84D98C98-43B8-43D2-9ACF-A118AAA326B5}" dt="2021-12-02T12:01:42.358" v="8372" actId="1076"/>
          <ac:spMkLst>
            <pc:docMk/>
            <pc:sldMk cId="111834544" sldId="360"/>
            <ac:spMk id="11" creationId="{F9A83283-D764-49FE-A945-6C70FC44BB2A}"/>
          </ac:spMkLst>
        </pc:spChg>
        <pc:spChg chg="add mod">
          <ac:chgData name="KiHa" userId="cca1b23a-f8aa-456a-973c-70ee1e38d8b1" providerId="ADAL" clId="{84D98C98-43B8-43D2-9ACF-A118AAA326B5}" dt="2021-12-02T01:21:33.261" v="4147" actId="1076"/>
          <ac:spMkLst>
            <pc:docMk/>
            <pc:sldMk cId="111834544" sldId="360"/>
            <ac:spMk id="15" creationId="{54396830-F8F0-4F2D-8421-28BF916B1832}"/>
          </ac:spMkLst>
        </pc:spChg>
        <pc:spChg chg="add mod">
          <ac:chgData name="KiHa" userId="cca1b23a-f8aa-456a-973c-70ee1e38d8b1" providerId="ADAL" clId="{84D98C98-43B8-43D2-9ACF-A118AAA326B5}" dt="2021-12-02T02:40:16.414" v="4228" actId="164"/>
          <ac:spMkLst>
            <pc:docMk/>
            <pc:sldMk cId="111834544" sldId="360"/>
            <ac:spMk id="22" creationId="{6A65077B-EBD4-44A5-8096-750606625687}"/>
          </ac:spMkLst>
        </pc:spChg>
        <pc:grpChg chg="add mod">
          <ac:chgData name="KiHa" userId="cca1b23a-f8aa-456a-973c-70ee1e38d8b1" providerId="ADAL" clId="{84D98C98-43B8-43D2-9ACF-A118AAA326B5}" dt="2021-12-02T02:40:16.414" v="4228" actId="164"/>
          <ac:grpSpMkLst>
            <pc:docMk/>
            <pc:sldMk cId="111834544" sldId="360"/>
            <ac:grpSpMk id="23" creationId="{E02065B8-333A-41E7-8C33-FF04069FFB77}"/>
          </ac:grpSpMkLst>
        </pc:grpChg>
        <pc:picChg chg="add del mod">
          <ac:chgData name="KiHa" userId="cca1b23a-f8aa-456a-973c-70ee1e38d8b1" providerId="ADAL" clId="{84D98C98-43B8-43D2-9ACF-A118AAA326B5}" dt="2021-12-02T11:38:58.718" v="7994" actId="478"/>
          <ac:picMkLst>
            <pc:docMk/>
            <pc:sldMk cId="111834544" sldId="360"/>
            <ac:picMk id="7" creationId="{0FD5EBE1-DC73-4D4F-B0F0-75E9ADCE2114}"/>
          </ac:picMkLst>
        </pc:picChg>
        <pc:picChg chg="add del mod">
          <ac:chgData name="KiHa" userId="cca1b23a-f8aa-456a-973c-70ee1e38d8b1" providerId="ADAL" clId="{84D98C98-43B8-43D2-9ACF-A118AAA326B5}" dt="2021-12-02T01:23:39.085" v="4152" actId="478"/>
          <ac:picMkLst>
            <pc:docMk/>
            <pc:sldMk cId="111834544" sldId="360"/>
            <ac:picMk id="10" creationId="{7464A3C3-4360-4BCC-90A6-DCAC58BC9830}"/>
          </ac:picMkLst>
        </pc:picChg>
        <pc:picChg chg="del">
          <ac:chgData name="KiHa" userId="cca1b23a-f8aa-456a-973c-70ee1e38d8b1" providerId="ADAL" clId="{84D98C98-43B8-43D2-9ACF-A118AAA326B5}" dt="2021-12-02T01:11:49.261" v="4064" actId="478"/>
          <ac:picMkLst>
            <pc:docMk/>
            <pc:sldMk cId="111834544" sldId="360"/>
            <ac:picMk id="13" creationId="{60E9A8F6-DA77-48AB-A84F-5CBCF7DD4704}"/>
          </ac:picMkLst>
        </pc:picChg>
        <pc:picChg chg="del">
          <ac:chgData name="KiHa" userId="cca1b23a-f8aa-456a-973c-70ee1e38d8b1" providerId="ADAL" clId="{84D98C98-43B8-43D2-9ACF-A118AAA326B5}" dt="2021-12-02T01:11:49.715" v="4065" actId="478"/>
          <ac:picMkLst>
            <pc:docMk/>
            <pc:sldMk cId="111834544" sldId="360"/>
            <ac:picMk id="17" creationId="{420970C1-E17D-4540-ABD5-D36A6EFCC489}"/>
          </ac:picMkLst>
        </pc:picChg>
        <pc:picChg chg="add mod ord">
          <ac:chgData name="KiHa" userId="cca1b23a-f8aa-456a-973c-70ee1e38d8b1" providerId="ADAL" clId="{84D98C98-43B8-43D2-9ACF-A118AAA326B5}" dt="2021-12-02T02:40:16.414" v="4228" actId="164"/>
          <ac:picMkLst>
            <pc:docMk/>
            <pc:sldMk cId="111834544" sldId="360"/>
            <ac:picMk id="21" creationId="{8BCCC017-1FD8-4FE2-909C-91A64245FA32}"/>
          </ac:picMkLst>
        </pc:picChg>
        <pc:picChg chg="add mod">
          <ac:chgData name="KiHa" userId="cca1b23a-f8aa-456a-973c-70ee1e38d8b1" providerId="ADAL" clId="{84D98C98-43B8-43D2-9ACF-A118AAA326B5}" dt="2021-12-02T12:01:39.947" v="8371" actId="1076"/>
          <ac:picMkLst>
            <pc:docMk/>
            <pc:sldMk cId="111834544" sldId="360"/>
            <ac:picMk id="25" creationId="{A18C3222-491C-4F7F-A48C-234DB69E7A61}"/>
          </ac:picMkLst>
        </pc:picChg>
        <pc:inkChg chg="add mod">
          <ac:chgData name="KiHa" userId="cca1b23a-f8aa-456a-973c-70ee1e38d8b1" providerId="ADAL" clId="{84D98C98-43B8-43D2-9ACF-A118AAA326B5}" dt="2021-12-02T02:40:16.414" v="4228" actId="164"/>
          <ac:inkMkLst>
            <pc:docMk/>
            <pc:sldMk cId="111834544" sldId="360"/>
            <ac:inkMk id="14" creationId="{F0142CFD-FFF3-4DB5-B7B2-07B24912896F}"/>
          </ac:inkMkLst>
        </pc:inkChg>
        <pc:inkChg chg="add del">
          <ac:chgData name="KiHa" userId="cca1b23a-f8aa-456a-973c-70ee1e38d8b1" providerId="ADAL" clId="{84D98C98-43B8-43D2-9ACF-A118AAA326B5}" dt="2021-12-02T01:24:03.895" v="4158"/>
          <ac:inkMkLst>
            <pc:docMk/>
            <pc:sldMk cId="111834544" sldId="360"/>
            <ac:inkMk id="16" creationId="{4532B0DE-2FB4-446F-84CB-18EF2A8D2122}"/>
          </ac:inkMkLst>
        </pc:inkChg>
        <pc:inkChg chg="add del">
          <ac:chgData name="KiHa" userId="cca1b23a-f8aa-456a-973c-70ee1e38d8b1" providerId="ADAL" clId="{84D98C98-43B8-43D2-9ACF-A118AAA326B5}" dt="2021-12-02T01:24:03.895" v="4159"/>
          <ac:inkMkLst>
            <pc:docMk/>
            <pc:sldMk cId="111834544" sldId="360"/>
            <ac:inkMk id="18" creationId="{1FAFB2C6-DD2D-46D4-8D4C-010FF28B0A5C}"/>
          </ac:inkMkLst>
        </pc:inkChg>
        <pc:inkChg chg="add del">
          <ac:chgData name="KiHa" userId="cca1b23a-f8aa-456a-973c-70ee1e38d8b1" providerId="ADAL" clId="{84D98C98-43B8-43D2-9ACF-A118AAA326B5}" dt="2021-12-02T01:24:03.895" v="4157"/>
          <ac:inkMkLst>
            <pc:docMk/>
            <pc:sldMk cId="111834544" sldId="360"/>
            <ac:inkMk id="19" creationId="{DAAAD525-5C7F-4AFF-BACD-15041D0F5205}"/>
          </ac:inkMkLst>
        </pc:ink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1137284905" sldId="360"/>
        </pc:sldMkLst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352494723" sldId="361"/>
        </pc:sldMkLst>
      </pc:sldChg>
      <pc:sldChg chg="addSp delSp modSp add mod">
        <pc:chgData name="KiHa" userId="cca1b23a-f8aa-456a-973c-70ee1e38d8b1" providerId="ADAL" clId="{84D98C98-43B8-43D2-9ACF-A118AAA326B5}" dt="2021-12-02T12:02:19.106" v="8374" actId="1076"/>
        <pc:sldMkLst>
          <pc:docMk/>
          <pc:sldMk cId="1534646286" sldId="361"/>
        </pc:sldMkLst>
        <pc:spChg chg="mod">
          <ac:chgData name="KiHa" userId="cca1b23a-f8aa-456a-973c-70ee1e38d8b1" providerId="ADAL" clId="{84D98C98-43B8-43D2-9ACF-A118AAA326B5}" dt="2021-12-02T12:02:19.106" v="8374" actId="1076"/>
          <ac:spMkLst>
            <pc:docMk/>
            <pc:sldMk cId="1534646286" sldId="361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2T01:25:22.312" v="4162" actId="478"/>
          <ac:spMkLst>
            <pc:docMk/>
            <pc:sldMk cId="1534646286" sldId="361"/>
            <ac:spMk id="3" creationId="{FE91AC8F-9A53-4C96-98D9-DB7920FC3FE4}"/>
          </ac:spMkLst>
        </pc:spChg>
        <pc:spChg chg="del">
          <ac:chgData name="KiHa" userId="cca1b23a-f8aa-456a-973c-70ee1e38d8b1" providerId="ADAL" clId="{84D98C98-43B8-43D2-9ACF-A118AAA326B5}" dt="2021-12-02T01:25:22.312" v="4162" actId="478"/>
          <ac:spMkLst>
            <pc:docMk/>
            <pc:sldMk cId="1534646286" sldId="361"/>
            <ac:spMk id="11" creationId="{F9A83283-D764-49FE-A945-6C70FC44BB2A}"/>
          </ac:spMkLst>
        </pc:spChg>
        <pc:picChg chg="del">
          <ac:chgData name="KiHa" userId="cca1b23a-f8aa-456a-973c-70ee1e38d8b1" providerId="ADAL" clId="{84D98C98-43B8-43D2-9ACF-A118AAA326B5}" dt="2021-12-02T01:25:22.312" v="4162" actId="478"/>
          <ac:picMkLst>
            <pc:docMk/>
            <pc:sldMk cId="1534646286" sldId="361"/>
            <ac:picMk id="7" creationId="{0FD5EBE1-DC73-4D4F-B0F0-75E9ADCE2114}"/>
          </ac:picMkLst>
        </pc:picChg>
        <pc:picChg chg="add mod">
          <ac:chgData name="KiHa" userId="cca1b23a-f8aa-456a-973c-70ee1e38d8b1" providerId="ADAL" clId="{84D98C98-43B8-43D2-9ACF-A118AAA326B5}" dt="2021-12-02T01:25:53.480" v="4187" actId="1076"/>
          <ac:picMkLst>
            <pc:docMk/>
            <pc:sldMk cId="1534646286" sldId="361"/>
            <ac:picMk id="8" creationId="{1623C5FE-C519-4505-B015-95F8DD195FE9}"/>
          </ac:picMkLst>
        </pc:picChg>
        <pc:picChg chg="del">
          <ac:chgData name="KiHa" userId="cca1b23a-f8aa-456a-973c-70ee1e38d8b1" providerId="ADAL" clId="{84D98C98-43B8-43D2-9ACF-A118AAA326B5}" dt="2021-12-02T01:25:22.312" v="4162" actId="478"/>
          <ac:picMkLst>
            <pc:docMk/>
            <pc:sldMk cId="1534646286" sldId="361"/>
            <ac:picMk id="21" creationId="{8BCCC017-1FD8-4FE2-909C-91A64245FA32}"/>
          </ac:picMkLst>
        </pc:picChg>
        <pc:inkChg chg="del">
          <ac:chgData name="KiHa" userId="cca1b23a-f8aa-456a-973c-70ee1e38d8b1" providerId="ADAL" clId="{84D98C98-43B8-43D2-9ACF-A118AAA326B5}" dt="2021-12-02T01:25:22.312" v="4162" actId="478"/>
          <ac:inkMkLst>
            <pc:docMk/>
            <pc:sldMk cId="1534646286" sldId="361"/>
            <ac:inkMk id="14" creationId="{F0142CFD-FFF3-4DB5-B7B2-07B24912896F}"/>
          </ac:inkMkLst>
        </pc:ink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665363357" sldId="362"/>
        </pc:sldMkLst>
      </pc:sldChg>
      <pc:sldChg chg="addSp delSp modSp add mod">
        <pc:chgData name="KiHa" userId="cca1b23a-f8aa-456a-973c-70ee1e38d8b1" providerId="ADAL" clId="{84D98C98-43B8-43D2-9ACF-A118AAA326B5}" dt="2021-12-04T01:15:13.237" v="8640" actId="20577"/>
        <pc:sldMkLst>
          <pc:docMk/>
          <pc:sldMk cId="951827085" sldId="362"/>
        </pc:sldMkLst>
        <pc:spChg chg="mod">
          <ac:chgData name="KiHa" userId="cca1b23a-f8aa-456a-973c-70ee1e38d8b1" providerId="ADAL" clId="{84D98C98-43B8-43D2-9ACF-A118AAA326B5}" dt="2021-12-02T02:49:48.690" v="4609" actId="1076"/>
          <ac:spMkLst>
            <pc:docMk/>
            <pc:sldMk cId="951827085" sldId="362"/>
            <ac:spMk id="2" creationId="{00000000-0000-0000-0000-000000000000}"/>
          </ac:spMkLst>
        </pc:spChg>
        <pc:spChg chg="del">
          <ac:chgData name="KiHa" userId="cca1b23a-f8aa-456a-973c-70ee1e38d8b1" providerId="ADAL" clId="{84D98C98-43B8-43D2-9ACF-A118AAA326B5}" dt="2021-12-02T02:43:33.876" v="4248" actId="478"/>
          <ac:spMkLst>
            <pc:docMk/>
            <pc:sldMk cId="951827085" sldId="362"/>
            <ac:spMk id="3" creationId="{FE91AC8F-9A53-4C96-98D9-DB7920FC3FE4}"/>
          </ac:spMkLst>
        </pc:spChg>
        <pc:spChg chg="add mod">
          <ac:chgData name="KiHa" userId="cca1b23a-f8aa-456a-973c-70ee1e38d8b1" providerId="ADAL" clId="{84D98C98-43B8-43D2-9ACF-A118AAA326B5}" dt="2021-12-04T01:15:13.237" v="8640" actId="20577"/>
          <ac:spMkLst>
            <pc:docMk/>
            <pc:sldMk cId="951827085" sldId="362"/>
            <ac:spMk id="9" creationId="{C01F4D7F-A93E-43FA-8C06-E09B9425DD50}"/>
          </ac:spMkLst>
        </pc:spChg>
        <pc:spChg chg="add mod">
          <ac:chgData name="KiHa" userId="cca1b23a-f8aa-456a-973c-70ee1e38d8b1" providerId="ADAL" clId="{84D98C98-43B8-43D2-9ACF-A118AAA326B5}" dt="2021-12-02T11:50:47.140" v="8255" actId="20577"/>
          <ac:spMkLst>
            <pc:docMk/>
            <pc:sldMk cId="951827085" sldId="362"/>
            <ac:spMk id="10" creationId="{617A6155-1D2D-44EB-BCDF-0EBABC356AAA}"/>
          </ac:spMkLst>
        </pc:spChg>
        <pc:spChg chg="del">
          <ac:chgData name="KiHa" userId="cca1b23a-f8aa-456a-973c-70ee1e38d8b1" providerId="ADAL" clId="{84D98C98-43B8-43D2-9ACF-A118AAA326B5}" dt="2021-12-02T02:43:33.876" v="4248" actId="478"/>
          <ac:spMkLst>
            <pc:docMk/>
            <pc:sldMk cId="951827085" sldId="362"/>
            <ac:spMk id="11" creationId="{F9A83283-D764-49FE-A945-6C70FC44BB2A}"/>
          </ac:spMkLst>
        </pc:spChg>
        <pc:spChg chg="add mod">
          <ac:chgData name="KiHa" userId="cca1b23a-f8aa-456a-973c-70ee1e38d8b1" providerId="ADAL" clId="{84D98C98-43B8-43D2-9ACF-A118AAA326B5}" dt="2021-12-02T11:53:32.376" v="8282" actId="207"/>
          <ac:spMkLst>
            <pc:docMk/>
            <pc:sldMk cId="951827085" sldId="362"/>
            <ac:spMk id="12" creationId="{F82A14E1-8B9B-4E87-9D17-4F6F8C31CEB9}"/>
          </ac:spMkLst>
        </pc:spChg>
        <pc:spChg chg="del">
          <ac:chgData name="KiHa" userId="cca1b23a-f8aa-456a-973c-70ee1e38d8b1" providerId="ADAL" clId="{84D98C98-43B8-43D2-9ACF-A118AAA326B5}" dt="2021-12-02T02:45:20.066" v="4254" actId="478"/>
          <ac:spMkLst>
            <pc:docMk/>
            <pc:sldMk cId="951827085" sldId="362"/>
            <ac:spMk id="15" creationId="{54396830-F8F0-4F2D-8421-28BF916B1832}"/>
          </ac:spMkLst>
        </pc:spChg>
        <pc:spChg chg="add mod">
          <ac:chgData name="KiHa" userId="cca1b23a-f8aa-456a-973c-70ee1e38d8b1" providerId="ADAL" clId="{84D98C98-43B8-43D2-9ACF-A118AAA326B5}" dt="2021-12-02T11:53:37.848" v="8283" actId="207"/>
          <ac:spMkLst>
            <pc:docMk/>
            <pc:sldMk cId="951827085" sldId="362"/>
            <ac:spMk id="18" creationId="{1F4E5CDB-8DE8-45A2-81DF-66F58201EFEB}"/>
          </ac:spMkLst>
        </pc:spChg>
        <pc:spChg chg="add mod">
          <ac:chgData name="KiHa" userId="cca1b23a-f8aa-456a-973c-70ee1e38d8b1" providerId="ADAL" clId="{84D98C98-43B8-43D2-9ACF-A118AAA326B5}" dt="2021-12-02T11:53:24.949" v="8281" actId="207"/>
          <ac:spMkLst>
            <pc:docMk/>
            <pc:sldMk cId="951827085" sldId="362"/>
            <ac:spMk id="19" creationId="{86DD6F85-2F93-4BDC-93EC-874BF39963DF}"/>
          </ac:spMkLst>
        </pc:spChg>
        <pc:grpChg chg="del">
          <ac:chgData name="KiHa" userId="cca1b23a-f8aa-456a-973c-70ee1e38d8b1" providerId="ADAL" clId="{84D98C98-43B8-43D2-9ACF-A118AAA326B5}" dt="2021-12-02T02:43:33.876" v="4248" actId="478"/>
          <ac:grpSpMkLst>
            <pc:docMk/>
            <pc:sldMk cId="951827085" sldId="362"/>
            <ac:grpSpMk id="23" creationId="{E02065B8-333A-41E7-8C33-FF04069FFB77}"/>
          </ac:grpSpMkLst>
        </pc:grpChg>
        <pc:picChg chg="del">
          <ac:chgData name="KiHa" userId="cca1b23a-f8aa-456a-973c-70ee1e38d8b1" providerId="ADAL" clId="{84D98C98-43B8-43D2-9ACF-A118AAA326B5}" dt="2021-12-02T02:43:33.876" v="4248" actId="478"/>
          <ac:picMkLst>
            <pc:docMk/>
            <pc:sldMk cId="951827085" sldId="362"/>
            <ac:picMk id="7" creationId="{0FD5EBE1-DC73-4D4F-B0F0-75E9ADCE2114}"/>
          </ac:picMkLst>
        </pc:picChg>
        <pc:picChg chg="add mod">
          <ac:chgData name="KiHa" userId="cca1b23a-f8aa-456a-973c-70ee1e38d8b1" providerId="ADAL" clId="{84D98C98-43B8-43D2-9ACF-A118AAA326B5}" dt="2021-12-02T11:52:45.541" v="8273" actId="1076"/>
          <ac:picMkLst>
            <pc:docMk/>
            <pc:sldMk cId="951827085" sldId="362"/>
            <ac:picMk id="8" creationId="{39AD1282-5371-4D15-BE4B-C08EBD983E6D}"/>
          </ac:picMkLst>
        </pc:picChg>
      </pc:sldChg>
      <pc:sldChg chg="addSp delSp modSp add mod">
        <pc:chgData name="KiHa" userId="cca1b23a-f8aa-456a-973c-70ee1e38d8b1" providerId="ADAL" clId="{84D98C98-43B8-43D2-9ACF-A118AAA326B5}" dt="2021-12-04T02:07:14.524" v="8652" actId="20577"/>
        <pc:sldMkLst>
          <pc:docMk/>
          <pc:sldMk cId="1102512066" sldId="363"/>
        </pc:sldMkLst>
        <pc:spChg chg="mod">
          <ac:chgData name="KiHa" userId="cca1b23a-f8aa-456a-973c-70ee1e38d8b1" providerId="ADAL" clId="{84D98C98-43B8-43D2-9ACF-A118AAA326B5}" dt="2021-12-02T02:50:06.485" v="4620" actId="1076"/>
          <ac:spMkLst>
            <pc:docMk/>
            <pc:sldMk cId="1102512066" sldId="363"/>
            <ac:spMk id="2" creationId="{00000000-0000-0000-0000-000000000000}"/>
          </ac:spMkLst>
        </pc:spChg>
        <pc:spChg chg="add mod">
          <ac:chgData name="KiHa" userId="cca1b23a-f8aa-456a-973c-70ee1e38d8b1" providerId="ADAL" clId="{84D98C98-43B8-43D2-9ACF-A118AAA326B5}" dt="2021-12-02T04:43:10.332" v="6036" actId="20577"/>
          <ac:spMkLst>
            <pc:docMk/>
            <pc:sldMk cId="1102512066" sldId="363"/>
            <ac:spMk id="3" creationId="{A079004A-D950-47A2-8A16-56F07F4D839C}"/>
          </ac:spMkLst>
        </pc:spChg>
        <pc:spChg chg="add del mod">
          <ac:chgData name="KiHa" userId="cca1b23a-f8aa-456a-973c-70ee1e38d8b1" providerId="ADAL" clId="{84D98C98-43B8-43D2-9ACF-A118AAA326B5}" dt="2021-12-02T04:36:30.769" v="5494" actId="478"/>
          <ac:spMkLst>
            <pc:docMk/>
            <pc:sldMk cId="1102512066" sldId="363"/>
            <ac:spMk id="6" creationId="{580A324A-3A31-4AFB-936C-F8AFBFA06FD7}"/>
          </ac:spMkLst>
        </pc:spChg>
        <pc:spChg chg="add del mod">
          <ac:chgData name="KiHa" userId="cca1b23a-f8aa-456a-973c-70ee1e38d8b1" providerId="ADAL" clId="{84D98C98-43B8-43D2-9ACF-A118AAA326B5}" dt="2021-12-02T04:36:54.251" v="5511"/>
          <ac:spMkLst>
            <pc:docMk/>
            <pc:sldMk cId="1102512066" sldId="363"/>
            <ac:spMk id="7" creationId="{AEDAB305-F212-4028-BFAB-CD7A54BD8E4A}"/>
          </ac:spMkLst>
        </pc:spChg>
        <pc:spChg chg="add del mod">
          <ac:chgData name="KiHa" userId="cca1b23a-f8aa-456a-973c-70ee1e38d8b1" providerId="ADAL" clId="{84D98C98-43B8-43D2-9ACF-A118AAA326B5}" dt="2021-12-02T04:36:37.295" v="5496" actId="478"/>
          <ac:spMkLst>
            <pc:docMk/>
            <pc:sldMk cId="1102512066" sldId="363"/>
            <ac:spMk id="8" creationId="{2B2D4129-D452-4DB8-8959-95C7D429C9DF}"/>
          </ac:spMkLst>
        </pc:spChg>
        <pc:spChg chg="add mod">
          <ac:chgData name="KiHa" userId="cca1b23a-f8aa-456a-973c-70ee1e38d8b1" providerId="ADAL" clId="{84D98C98-43B8-43D2-9ACF-A118AAA326B5}" dt="2021-12-04T02:07:14.524" v="8652" actId="20577"/>
          <ac:spMkLst>
            <pc:docMk/>
            <pc:sldMk cId="1102512066" sldId="363"/>
            <ac:spMk id="9" creationId="{81E3F1C6-E4C9-43CF-B876-168B7C419863}"/>
          </ac:spMkLst>
        </pc:spChg>
        <pc:spChg chg="add mod">
          <ac:chgData name="KiHa" userId="cca1b23a-f8aa-456a-973c-70ee1e38d8b1" providerId="ADAL" clId="{84D98C98-43B8-43D2-9ACF-A118AAA326B5}" dt="2021-12-02T08:09:00.172" v="7573" actId="20577"/>
          <ac:spMkLst>
            <pc:docMk/>
            <pc:sldMk cId="1102512066" sldId="363"/>
            <ac:spMk id="10" creationId="{55443ABC-C800-4269-9E78-416B6433AD37}"/>
          </ac:spMkLst>
        </pc:spChg>
        <pc:spChg chg="del">
          <ac:chgData name="KiHa" userId="cca1b23a-f8aa-456a-973c-70ee1e38d8b1" providerId="ADAL" clId="{84D98C98-43B8-43D2-9ACF-A118AAA326B5}" dt="2021-12-02T04:42:14.046" v="6006" actId="478"/>
          <ac:spMkLst>
            <pc:docMk/>
            <pc:sldMk cId="1102512066" sldId="363"/>
            <ac:spMk id="15" creationId="{54396830-F8F0-4F2D-8421-28BF916B1832}"/>
          </ac:spMkLst>
        </pc:sp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3905364391" sldId="363"/>
        </pc:sldMkLst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893466845" sldId="364"/>
        </pc:sldMkLst>
      </pc:sldChg>
      <pc:sldChg chg="addSp delSp modSp add mod">
        <pc:chgData name="KiHa" userId="cca1b23a-f8aa-456a-973c-70ee1e38d8b1" providerId="ADAL" clId="{84D98C98-43B8-43D2-9ACF-A118AAA326B5}" dt="2021-12-04T02:11:45.136" v="8681" actId="20577"/>
        <pc:sldMkLst>
          <pc:docMk/>
          <pc:sldMk cId="1448697913" sldId="364"/>
        </pc:sldMkLst>
        <pc:spChg chg="mod">
          <ac:chgData name="KiHa" userId="cca1b23a-f8aa-456a-973c-70ee1e38d8b1" providerId="ADAL" clId="{84D98C98-43B8-43D2-9ACF-A118AAA326B5}" dt="2021-12-02T04:59:54.194" v="6553" actId="20577"/>
          <ac:spMkLst>
            <pc:docMk/>
            <pc:sldMk cId="1448697913" sldId="364"/>
            <ac:spMk id="2" creationId="{00000000-0000-0000-0000-000000000000}"/>
          </ac:spMkLst>
        </pc:spChg>
        <pc:spChg chg="add mod">
          <ac:chgData name="KiHa" userId="cca1b23a-f8aa-456a-973c-70ee1e38d8b1" providerId="ADAL" clId="{84D98C98-43B8-43D2-9ACF-A118AAA326B5}" dt="2021-12-04T02:11:45.136" v="8681" actId="20577"/>
          <ac:spMkLst>
            <pc:docMk/>
            <pc:sldMk cId="1448697913" sldId="364"/>
            <ac:spMk id="6" creationId="{CB071958-48EE-41D8-8DF2-7CC7B4DD3135}"/>
          </ac:spMkLst>
        </pc:spChg>
        <pc:spChg chg="del">
          <ac:chgData name="KiHa" userId="cca1b23a-f8aa-456a-973c-70ee1e38d8b1" providerId="ADAL" clId="{84D98C98-43B8-43D2-9ACF-A118AAA326B5}" dt="2021-12-02T04:57:47.551" v="6401" actId="478"/>
          <ac:spMkLst>
            <pc:docMk/>
            <pc:sldMk cId="1448697913" sldId="364"/>
            <ac:spMk id="15" creationId="{54396830-F8F0-4F2D-8421-28BF916B1832}"/>
          </ac:spMkLst>
        </pc:spChg>
        <pc:picChg chg="add del mod">
          <ac:chgData name="KiHa" userId="cca1b23a-f8aa-456a-973c-70ee1e38d8b1" providerId="ADAL" clId="{84D98C98-43B8-43D2-9ACF-A118AAA326B5}" dt="2021-12-02T07:19:35.599" v="7508" actId="478"/>
          <ac:picMkLst>
            <pc:docMk/>
            <pc:sldMk cId="1448697913" sldId="364"/>
            <ac:picMk id="7" creationId="{53DBC436-3458-424B-9CE0-F2F21F5E18FF}"/>
          </ac:picMkLst>
        </pc:picChg>
        <pc:picChg chg="add mod">
          <ac:chgData name="KiHa" userId="cca1b23a-f8aa-456a-973c-70ee1e38d8b1" providerId="ADAL" clId="{84D98C98-43B8-43D2-9ACF-A118AAA326B5}" dt="2021-12-02T05:03:45.893" v="6637" actId="1076"/>
          <ac:picMkLst>
            <pc:docMk/>
            <pc:sldMk cId="1448697913" sldId="364"/>
            <ac:picMk id="9" creationId="{765B4F93-9636-4326-9C82-72220560AB7D}"/>
          </ac:picMkLst>
        </pc:picChg>
        <pc:picChg chg="add mod">
          <ac:chgData name="KiHa" userId="cca1b23a-f8aa-456a-973c-70ee1e38d8b1" providerId="ADAL" clId="{84D98C98-43B8-43D2-9ACF-A118AAA326B5}" dt="2021-12-02T07:39:37.455" v="7545" actId="1076"/>
          <ac:picMkLst>
            <pc:docMk/>
            <pc:sldMk cId="1448697913" sldId="364"/>
            <ac:picMk id="11" creationId="{A68685B2-FA14-405D-9B87-EC102315A661}"/>
          </ac:picMkLst>
        </pc:picChg>
      </pc:sldChg>
      <pc:sldChg chg="addSp delSp modSp add mod">
        <pc:chgData name="KiHa" userId="cca1b23a-f8aa-456a-973c-70ee1e38d8b1" providerId="ADAL" clId="{84D98C98-43B8-43D2-9ACF-A118AAA326B5}" dt="2021-12-02T11:50:23.015" v="8238" actId="115"/>
        <pc:sldMkLst>
          <pc:docMk/>
          <pc:sldMk cId="905016546" sldId="365"/>
        </pc:sldMkLst>
        <pc:spChg chg="mod">
          <ac:chgData name="KiHa" userId="cca1b23a-f8aa-456a-973c-70ee1e38d8b1" providerId="ADAL" clId="{84D98C98-43B8-43D2-9ACF-A118AAA326B5}" dt="2021-12-02T04:36:19.117" v="5493" actId="20577"/>
          <ac:spMkLst>
            <pc:docMk/>
            <pc:sldMk cId="905016546" sldId="365"/>
            <ac:spMk id="2" creationId="{00000000-0000-0000-0000-000000000000}"/>
          </ac:spMkLst>
        </pc:spChg>
        <pc:spChg chg="mod">
          <ac:chgData name="KiHa" userId="cca1b23a-f8aa-456a-973c-70ee1e38d8b1" providerId="ADAL" clId="{84D98C98-43B8-43D2-9ACF-A118AAA326B5}" dt="2021-12-02T04:35:53.966" v="5476" actId="115"/>
          <ac:spMkLst>
            <pc:docMk/>
            <pc:sldMk cId="905016546" sldId="365"/>
            <ac:spMk id="3" creationId="{A079004A-D950-47A2-8A16-56F07F4D839C}"/>
          </ac:spMkLst>
        </pc:spChg>
        <pc:spChg chg="mod">
          <ac:chgData name="KiHa" userId="cca1b23a-f8aa-456a-973c-70ee1e38d8b1" providerId="ADAL" clId="{84D98C98-43B8-43D2-9ACF-A118AAA326B5}" dt="2021-12-02T11:50:23.015" v="8238" actId="115"/>
          <ac:spMkLst>
            <pc:docMk/>
            <pc:sldMk cId="905016546" sldId="365"/>
            <ac:spMk id="6" creationId="{580A324A-3A31-4AFB-936C-F8AFBFA06FD7}"/>
          </ac:spMkLst>
        </pc:spChg>
        <pc:spChg chg="add mod">
          <ac:chgData name="KiHa" userId="cca1b23a-f8aa-456a-973c-70ee1e38d8b1" providerId="ADAL" clId="{84D98C98-43B8-43D2-9ACF-A118AAA326B5}" dt="2021-12-02T04:31:15.277" v="5103" actId="20577"/>
          <ac:spMkLst>
            <pc:docMk/>
            <pc:sldMk cId="905016546" sldId="365"/>
            <ac:spMk id="7" creationId="{C87F7843-BAD3-4BCB-9FDE-60C88026EBE1}"/>
          </ac:spMkLst>
        </pc:spChg>
        <pc:spChg chg="del">
          <ac:chgData name="KiHa" userId="cca1b23a-f8aa-456a-973c-70ee1e38d8b1" providerId="ADAL" clId="{84D98C98-43B8-43D2-9ACF-A118AAA326B5}" dt="2021-12-02T04:33:48.394" v="5387" actId="478"/>
          <ac:spMkLst>
            <pc:docMk/>
            <pc:sldMk cId="905016546" sldId="365"/>
            <ac:spMk id="15" creationId="{54396830-F8F0-4F2D-8421-28BF916B1832}"/>
          </ac:spMkLst>
        </pc:spChg>
        <pc:picChg chg="add mod">
          <ac:chgData name="KiHa" userId="cca1b23a-f8aa-456a-973c-70ee1e38d8b1" providerId="ADAL" clId="{84D98C98-43B8-43D2-9ACF-A118AAA326B5}" dt="2021-12-02T04:30:38.666" v="5080" actId="1076"/>
          <ac:picMkLst>
            <pc:docMk/>
            <pc:sldMk cId="905016546" sldId="365"/>
            <ac:picMk id="8" creationId="{62FDBB88-37AA-4668-BBCF-D97535EC2D6F}"/>
          </ac:picMkLst>
        </pc:pic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1758686706" sldId="365"/>
        </pc:sldMkLst>
      </pc:sldChg>
      <pc:sldChg chg="addSp delSp modSp add mod">
        <pc:chgData name="KiHa" userId="cca1b23a-f8aa-456a-973c-70ee1e38d8b1" providerId="ADAL" clId="{84D98C98-43B8-43D2-9ACF-A118AAA326B5}" dt="2021-12-02T11:58:49.999" v="8345" actId="1076"/>
        <pc:sldMkLst>
          <pc:docMk/>
          <pc:sldMk cId="2194713019" sldId="366"/>
        </pc:sldMkLst>
        <pc:spChg chg="mod">
          <ac:chgData name="KiHa" userId="cca1b23a-f8aa-456a-973c-70ee1e38d8b1" providerId="ADAL" clId="{84D98C98-43B8-43D2-9ACF-A118AAA326B5}" dt="2021-12-02T11:58:01.943" v="8344" actId="1076"/>
          <ac:spMkLst>
            <pc:docMk/>
            <pc:sldMk cId="2194713019" sldId="366"/>
            <ac:spMk id="3" creationId="{A079004A-D950-47A2-8A16-56F07F4D839C}"/>
          </ac:spMkLst>
        </pc:spChg>
        <pc:spChg chg="add mod">
          <ac:chgData name="KiHa" userId="cca1b23a-f8aa-456a-973c-70ee1e38d8b1" providerId="ADAL" clId="{84D98C98-43B8-43D2-9ACF-A118AAA326B5}" dt="2021-12-02T11:57:58.995" v="8343" actId="1076"/>
          <ac:spMkLst>
            <pc:docMk/>
            <pc:sldMk cId="2194713019" sldId="366"/>
            <ac:spMk id="6" creationId="{E160B1D6-B7DA-4B70-8027-92F1590051A5}"/>
          </ac:spMkLst>
        </pc:spChg>
        <pc:spChg chg="add mod">
          <ac:chgData name="KiHa" userId="cca1b23a-f8aa-456a-973c-70ee1e38d8b1" providerId="ADAL" clId="{84D98C98-43B8-43D2-9ACF-A118AAA326B5}" dt="2021-12-02T11:57:58.995" v="8343" actId="1076"/>
          <ac:spMkLst>
            <pc:docMk/>
            <pc:sldMk cId="2194713019" sldId="366"/>
            <ac:spMk id="7" creationId="{1A80EEDF-F3CC-4CDC-A052-8683E466E4DA}"/>
          </ac:spMkLst>
        </pc:spChg>
        <pc:spChg chg="del">
          <ac:chgData name="KiHa" userId="cca1b23a-f8aa-456a-973c-70ee1e38d8b1" providerId="ADAL" clId="{84D98C98-43B8-43D2-9ACF-A118AAA326B5}" dt="2021-12-02T04:42:08.398" v="6003" actId="478"/>
          <ac:spMkLst>
            <pc:docMk/>
            <pc:sldMk cId="2194713019" sldId="366"/>
            <ac:spMk id="9" creationId="{81E3F1C6-E4C9-43CF-B876-168B7C419863}"/>
          </ac:spMkLst>
        </pc:spChg>
        <pc:spChg chg="del">
          <ac:chgData name="KiHa" userId="cca1b23a-f8aa-456a-973c-70ee1e38d8b1" providerId="ADAL" clId="{84D98C98-43B8-43D2-9ACF-A118AAA326B5}" dt="2021-12-02T04:42:11.015" v="6005" actId="478"/>
          <ac:spMkLst>
            <pc:docMk/>
            <pc:sldMk cId="2194713019" sldId="366"/>
            <ac:spMk id="10" creationId="{55443ABC-C800-4269-9E78-416B6433AD37}"/>
          </ac:spMkLst>
        </pc:spChg>
        <pc:spChg chg="add del mod">
          <ac:chgData name="KiHa" userId="cca1b23a-f8aa-456a-973c-70ee1e38d8b1" providerId="ADAL" clId="{84D98C98-43B8-43D2-9ACF-A118AAA326B5}" dt="2021-12-02T04:43:15.506" v="6037" actId="478"/>
          <ac:spMkLst>
            <pc:docMk/>
            <pc:sldMk cId="2194713019" sldId="366"/>
            <ac:spMk id="11" creationId="{5F5BBB09-6A95-4FB8-AC7A-C958E37954AC}"/>
          </ac:spMkLst>
        </pc:spChg>
        <pc:spChg chg="add mod">
          <ac:chgData name="KiHa" userId="cca1b23a-f8aa-456a-973c-70ee1e38d8b1" providerId="ADAL" clId="{84D98C98-43B8-43D2-9ACF-A118AAA326B5}" dt="2021-12-02T11:58:49.999" v="8345" actId="1076"/>
          <ac:spMkLst>
            <pc:docMk/>
            <pc:sldMk cId="2194713019" sldId="366"/>
            <ac:spMk id="14" creationId="{4B2EA0EF-B3A7-4164-8CCE-FBCDCC637E20}"/>
          </ac:spMkLst>
        </pc:spChg>
        <pc:spChg chg="del">
          <ac:chgData name="KiHa" userId="cca1b23a-f8aa-456a-973c-70ee1e38d8b1" providerId="ADAL" clId="{84D98C98-43B8-43D2-9ACF-A118AAA326B5}" dt="2021-12-02T04:42:09.648" v="6004" actId="478"/>
          <ac:spMkLst>
            <pc:docMk/>
            <pc:sldMk cId="2194713019" sldId="366"/>
            <ac:spMk id="15" creationId="{54396830-F8F0-4F2D-8421-28BF916B1832}"/>
          </ac:spMkLst>
        </pc:spChg>
        <pc:picChg chg="add mod">
          <ac:chgData name="KiHa" userId="cca1b23a-f8aa-456a-973c-70ee1e38d8b1" providerId="ADAL" clId="{84D98C98-43B8-43D2-9ACF-A118AAA326B5}" dt="2021-12-02T05:18:47.121" v="7478" actId="1076"/>
          <ac:picMkLst>
            <pc:docMk/>
            <pc:sldMk cId="2194713019" sldId="366"/>
            <ac:picMk id="12" creationId="{94AF8CE7-AA80-4BEF-BF01-429E751A8F10}"/>
          </ac:picMkLst>
        </pc:picChg>
      </pc:sldChg>
      <pc:sldChg chg="del">
        <pc:chgData name="KiHa" userId="cca1b23a-f8aa-456a-973c-70ee1e38d8b1" providerId="ADAL" clId="{84D98C98-43B8-43D2-9ACF-A118AAA326B5}" dt="2021-12-01T13:23:26.270" v="0" actId="47"/>
        <pc:sldMkLst>
          <pc:docMk/>
          <pc:sldMk cId="3809091299" sldId="366"/>
        </pc:sldMkLst>
      </pc:sldChg>
      <pc:sldChg chg="addSp delSp modSp add mod">
        <pc:chgData name="KiHa" userId="cca1b23a-f8aa-456a-973c-70ee1e38d8b1" providerId="ADAL" clId="{84D98C98-43B8-43D2-9ACF-A118AAA326B5}" dt="2021-12-04T02:10:42.518" v="8655" actId="20577"/>
        <pc:sldMkLst>
          <pc:docMk/>
          <pc:sldMk cId="689020904" sldId="367"/>
        </pc:sldMkLst>
        <pc:spChg chg="mod">
          <ac:chgData name="KiHa" userId="cca1b23a-f8aa-456a-973c-70ee1e38d8b1" providerId="ADAL" clId="{84D98C98-43B8-43D2-9ACF-A118AAA326B5}" dt="2021-12-02T07:18:41.612" v="7506" actId="20577"/>
          <ac:spMkLst>
            <pc:docMk/>
            <pc:sldMk cId="689020904" sldId="367"/>
            <ac:spMk id="3" creationId="{A079004A-D950-47A2-8A16-56F07F4D839C}"/>
          </ac:spMkLst>
        </pc:spChg>
        <pc:spChg chg="del">
          <ac:chgData name="KiHa" userId="cca1b23a-f8aa-456a-973c-70ee1e38d8b1" providerId="ADAL" clId="{84D98C98-43B8-43D2-9ACF-A118AAA326B5}" dt="2021-12-02T04:47:26.538" v="6182" actId="478"/>
          <ac:spMkLst>
            <pc:docMk/>
            <pc:sldMk cId="689020904" sldId="367"/>
            <ac:spMk id="6" creationId="{E160B1D6-B7DA-4B70-8027-92F1590051A5}"/>
          </ac:spMkLst>
        </pc:spChg>
        <pc:spChg chg="del">
          <ac:chgData name="KiHa" userId="cca1b23a-f8aa-456a-973c-70ee1e38d8b1" providerId="ADAL" clId="{84D98C98-43B8-43D2-9ACF-A118AAA326B5}" dt="2021-12-02T04:47:26.538" v="6182" actId="478"/>
          <ac:spMkLst>
            <pc:docMk/>
            <pc:sldMk cId="689020904" sldId="367"/>
            <ac:spMk id="7" creationId="{1A80EEDF-F3CC-4CDC-A052-8683E466E4DA}"/>
          </ac:spMkLst>
        </pc:spChg>
        <pc:spChg chg="add mod">
          <ac:chgData name="KiHa" userId="cca1b23a-f8aa-456a-973c-70ee1e38d8b1" providerId="ADAL" clId="{84D98C98-43B8-43D2-9ACF-A118AAA326B5}" dt="2021-12-04T02:10:07.022" v="8653" actId="20577"/>
          <ac:spMkLst>
            <pc:docMk/>
            <pc:sldMk cId="689020904" sldId="367"/>
            <ac:spMk id="13" creationId="{94E5C2E8-5D34-4443-B852-51C7799C469C}"/>
          </ac:spMkLst>
        </pc:spChg>
        <pc:spChg chg="add mod">
          <ac:chgData name="KiHa" userId="cca1b23a-f8aa-456a-973c-70ee1e38d8b1" providerId="ADAL" clId="{84D98C98-43B8-43D2-9ACF-A118AAA326B5}" dt="2021-12-02T12:04:51.578" v="8449" actId="693"/>
          <ac:spMkLst>
            <pc:docMk/>
            <pc:sldMk cId="689020904" sldId="367"/>
            <ac:spMk id="15" creationId="{219A4140-14F7-482F-82EB-965E7F7D5C2A}"/>
          </ac:spMkLst>
        </pc:spChg>
        <pc:spChg chg="add mod">
          <ac:chgData name="KiHa" userId="cca1b23a-f8aa-456a-973c-70ee1e38d8b1" providerId="ADAL" clId="{84D98C98-43B8-43D2-9ACF-A118AAA326B5}" dt="2021-12-02T12:05:07.608" v="8451" actId="14100"/>
          <ac:spMkLst>
            <pc:docMk/>
            <pc:sldMk cId="689020904" sldId="367"/>
            <ac:spMk id="16" creationId="{143BB6DD-8752-484B-A817-D65C0B5213CF}"/>
          </ac:spMkLst>
        </pc:spChg>
        <pc:spChg chg="add mod">
          <ac:chgData name="KiHa" userId="cca1b23a-f8aa-456a-973c-70ee1e38d8b1" providerId="ADAL" clId="{84D98C98-43B8-43D2-9ACF-A118AAA326B5}" dt="2021-12-04T02:10:42.518" v="8655" actId="20577"/>
          <ac:spMkLst>
            <pc:docMk/>
            <pc:sldMk cId="689020904" sldId="367"/>
            <ac:spMk id="17" creationId="{C3336FD3-6921-4507-B5E5-733D57F2D504}"/>
          </ac:spMkLst>
        </pc:spChg>
        <pc:spChg chg="add mod">
          <ac:chgData name="KiHa" userId="cca1b23a-f8aa-456a-973c-70ee1e38d8b1" providerId="ADAL" clId="{84D98C98-43B8-43D2-9ACF-A118AAA326B5}" dt="2021-12-02T12:05:38.393" v="8507" actId="255"/>
          <ac:spMkLst>
            <pc:docMk/>
            <pc:sldMk cId="689020904" sldId="367"/>
            <ac:spMk id="18" creationId="{C6548B5A-2E6E-43E0-A640-F40DB4A04D2E}"/>
          </ac:spMkLst>
        </pc:spChg>
        <pc:picChg chg="add del mod">
          <ac:chgData name="KiHa" userId="cca1b23a-f8aa-456a-973c-70ee1e38d8b1" providerId="ADAL" clId="{84D98C98-43B8-43D2-9ACF-A118AAA326B5}" dt="2021-12-02T07:17:50.773" v="7492" actId="478"/>
          <ac:picMkLst>
            <pc:docMk/>
            <pc:sldMk cId="689020904" sldId="367"/>
            <ac:picMk id="9" creationId="{026FF745-60AB-4FD2-AB09-473C998B0ED4}"/>
          </ac:picMkLst>
        </pc:picChg>
        <pc:picChg chg="del">
          <ac:chgData name="KiHa" userId="cca1b23a-f8aa-456a-973c-70ee1e38d8b1" providerId="ADAL" clId="{84D98C98-43B8-43D2-9ACF-A118AAA326B5}" dt="2021-12-02T04:47:28.164" v="6183" actId="478"/>
          <ac:picMkLst>
            <pc:docMk/>
            <pc:sldMk cId="689020904" sldId="367"/>
            <ac:picMk id="12" creationId="{94AF8CE7-AA80-4BEF-BF01-429E751A8F10}"/>
          </ac:picMkLst>
        </pc:picChg>
        <pc:picChg chg="add mod ord">
          <ac:chgData name="KiHa" userId="cca1b23a-f8aa-456a-973c-70ee1e38d8b1" providerId="ADAL" clId="{84D98C98-43B8-43D2-9ACF-A118AAA326B5}" dt="2021-12-02T12:03:30.766" v="8381" actId="167"/>
          <ac:picMkLst>
            <pc:docMk/>
            <pc:sldMk cId="689020904" sldId="367"/>
            <ac:picMk id="14" creationId="{EE1718F8-F3AE-4E9A-81B0-B7C9CF49BA60}"/>
          </ac:picMkLst>
        </pc:picChg>
      </pc:sldChg>
      <pc:sldChg chg="addSp delSp modSp add mod addCm delCm">
        <pc:chgData name="KiHa" userId="cca1b23a-f8aa-456a-973c-70ee1e38d8b1" providerId="ADAL" clId="{84D98C98-43B8-43D2-9ACF-A118AAA326B5}" dt="2021-12-02T11:57:17.494" v="8339" actId="208"/>
        <pc:sldMkLst>
          <pc:docMk/>
          <pc:sldMk cId="2731825170" sldId="368"/>
        </pc:sldMkLst>
        <pc:spChg chg="mod">
          <ac:chgData name="KiHa" userId="cca1b23a-f8aa-456a-973c-70ee1e38d8b1" providerId="ADAL" clId="{84D98C98-43B8-43D2-9ACF-A118AAA326B5}" dt="2021-12-02T04:54:09.789" v="6358" actId="20577"/>
          <ac:spMkLst>
            <pc:docMk/>
            <pc:sldMk cId="2731825170" sldId="368"/>
            <ac:spMk id="3" creationId="{A079004A-D950-47A2-8A16-56F07F4D839C}"/>
          </ac:spMkLst>
        </pc:spChg>
        <pc:spChg chg="del">
          <ac:chgData name="KiHa" userId="cca1b23a-f8aa-456a-973c-70ee1e38d8b1" providerId="ADAL" clId="{84D98C98-43B8-43D2-9ACF-A118AAA326B5}" dt="2021-12-02T04:53:08.801" v="6329" actId="478"/>
          <ac:spMkLst>
            <pc:docMk/>
            <pc:sldMk cId="2731825170" sldId="368"/>
            <ac:spMk id="6" creationId="{E160B1D6-B7DA-4B70-8027-92F1590051A5}"/>
          </ac:spMkLst>
        </pc:spChg>
        <pc:spChg chg="del">
          <ac:chgData name="KiHa" userId="cca1b23a-f8aa-456a-973c-70ee1e38d8b1" providerId="ADAL" clId="{84D98C98-43B8-43D2-9ACF-A118AAA326B5}" dt="2021-12-02T04:53:08.801" v="6329" actId="478"/>
          <ac:spMkLst>
            <pc:docMk/>
            <pc:sldMk cId="2731825170" sldId="368"/>
            <ac:spMk id="7" creationId="{1A80EEDF-F3CC-4CDC-A052-8683E466E4DA}"/>
          </ac:spMkLst>
        </pc:spChg>
        <pc:spChg chg="add mod">
          <ac:chgData name="KiHa" userId="cca1b23a-f8aa-456a-973c-70ee1e38d8b1" providerId="ADAL" clId="{84D98C98-43B8-43D2-9ACF-A118AAA326B5}" dt="2021-12-02T11:57:17.494" v="8339" actId="208"/>
          <ac:spMkLst>
            <pc:docMk/>
            <pc:sldMk cId="2731825170" sldId="368"/>
            <ac:spMk id="10" creationId="{D00A1E83-46F4-4AF4-BD19-DA5D58103CC8}"/>
          </ac:spMkLst>
        </pc:spChg>
        <pc:picChg chg="add mod">
          <ac:chgData name="KiHa" userId="cca1b23a-f8aa-456a-973c-70ee1e38d8b1" providerId="ADAL" clId="{84D98C98-43B8-43D2-9ACF-A118AAA326B5}" dt="2021-12-02T05:18:50.389" v="7479" actId="14100"/>
          <ac:picMkLst>
            <pc:docMk/>
            <pc:sldMk cId="2731825170" sldId="368"/>
            <ac:picMk id="9" creationId="{DDA00A73-AA60-4810-A879-C0A535E7FE08}"/>
          </ac:picMkLst>
        </pc:picChg>
        <pc:picChg chg="del">
          <ac:chgData name="KiHa" userId="cca1b23a-f8aa-456a-973c-70ee1e38d8b1" providerId="ADAL" clId="{84D98C98-43B8-43D2-9ACF-A118AAA326B5}" dt="2021-12-02T04:52:57.423" v="6297" actId="478"/>
          <ac:picMkLst>
            <pc:docMk/>
            <pc:sldMk cId="2731825170" sldId="368"/>
            <ac:picMk id="12" creationId="{94AF8CE7-AA80-4BEF-BF01-429E751A8F10}"/>
          </ac:picMkLst>
        </pc:picChg>
      </pc:sldChg>
      <pc:sldChg chg="addSp delSp modSp add mod">
        <pc:chgData name="KiHa" userId="cca1b23a-f8aa-456a-973c-70ee1e38d8b1" providerId="ADAL" clId="{84D98C98-43B8-43D2-9ACF-A118AAA326B5}" dt="2021-12-02T11:48:00.042" v="8216" actId="1076"/>
        <pc:sldMkLst>
          <pc:docMk/>
          <pc:sldMk cId="1415622736" sldId="369"/>
        </pc:sldMkLst>
        <pc:spChg chg="mod">
          <ac:chgData name="KiHa" userId="cca1b23a-f8aa-456a-973c-70ee1e38d8b1" providerId="ADAL" clId="{84D98C98-43B8-43D2-9ACF-A118AAA326B5}" dt="2021-12-02T05:04:27.376" v="6670" actId="20577"/>
          <ac:spMkLst>
            <pc:docMk/>
            <pc:sldMk cId="1415622736" sldId="369"/>
            <ac:spMk id="3" creationId="{FE91AC8F-9A53-4C96-98D9-DB7920FC3FE4}"/>
          </ac:spMkLst>
        </pc:spChg>
        <pc:spChg chg="del">
          <ac:chgData name="KiHa" userId="cca1b23a-f8aa-456a-973c-70ee1e38d8b1" providerId="ADAL" clId="{84D98C98-43B8-43D2-9ACF-A118AAA326B5}" dt="2021-12-02T05:04:15.363" v="6642" actId="478"/>
          <ac:spMkLst>
            <pc:docMk/>
            <pc:sldMk cId="1415622736" sldId="369"/>
            <ac:spMk id="11" creationId="{F9A83283-D764-49FE-A945-6C70FC44BB2A}"/>
          </ac:spMkLst>
        </pc:spChg>
        <pc:spChg chg="add mod">
          <ac:chgData name="KiHa" userId="cca1b23a-f8aa-456a-973c-70ee1e38d8b1" providerId="ADAL" clId="{84D98C98-43B8-43D2-9ACF-A118AAA326B5}" dt="2021-12-02T11:47:48.883" v="8212" actId="21"/>
          <ac:spMkLst>
            <pc:docMk/>
            <pc:sldMk cId="1415622736" sldId="369"/>
            <ac:spMk id="12" creationId="{C1B4FADA-CD4E-4F1C-B7FF-9D585EAAF99B}"/>
          </ac:spMkLst>
        </pc:spChg>
        <pc:spChg chg="del">
          <ac:chgData name="KiHa" userId="cca1b23a-f8aa-456a-973c-70ee1e38d8b1" providerId="ADAL" clId="{84D98C98-43B8-43D2-9ACF-A118AAA326B5}" dt="2021-12-02T05:04:16.938" v="6643" actId="478"/>
          <ac:spMkLst>
            <pc:docMk/>
            <pc:sldMk cId="1415622736" sldId="369"/>
            <ac:spMk id="15" creationId="{54396830-F8F0-4F2D-8421-28BF916B1832}"/>
          </ac:spMkLst>
        </pc:spChg>
        <pc:spChg chg="add mod">
          <ac:chgData name="KiHa" userId="cca1b23a-f8aa-456a-973c-70ee1e38d8b1" providerId="ADAL" clId="{84D98C98-43B8-43D2-9ACF-A118AAA326B5}" dt="2021-12-02T11:44:09.946" v="8125" actId="1076"/>
          <ac:spMkLst>
            <pc:docMk/>
            <pc:sldMk cId="1415622736" sldId="369"/>
            <ac:spMk id="19" creationId="{F18573FF-8F06-4AFE-B639-4E02247E67F9}"/>
          </ac:spMkLst>
        </pc:spChg>
        <pc:spChg chg="add mod">
          <ac:chgData name="KiHa" userId="cca1b23a-f8aa-456a-973c-70ee1e38d8b1" providerId="ADAL" clId="{84D98C98-43B8-43D2-9ACF-A118AAA326B5}" dt="2021-12-02T11:48:00.042" v="8216" actId="1076"/>
          <ac:spMkLst>
            <pc:docMk/>
            <pc:sldMk cId="1415622736" sldId="369"/>
            <ac:spMk id="24" creationId="{431B0046-569D-45C5-B3C3-466D33BD463D}"/>
          </ac:spMkLst>
        </pc:spChg>
        <pc:grpChg chg="del">
          <ac:chgData name="KiHa" userId="cca1b23a-f8aa-456a-973c-70ee1e38d8b1" providerId="ADAL" clId="{84D98C98-43B8-43D2-9ACF-A118AAA326B5}" dt="2021-12-02T05:04:13.397" v="6641" actId="478"/>
          <ac:grpSpMkLst>
            <pc:docMk/>
            <pc:sldMk cId="1415622736" sldId="369"/>
            <ac:grpSpMk id="23" creationId="{E02065B8-333A-41E7-8C33-FF04069FFB77}"/>
          </ac:grpSpMkLst>
        </pc:grpChg>
        <pc:picChg chg="del">
          <ac:chgData name="KiHa" userId="cca1b23a-f8aa-456a-973c-70ee1e38d8b1" providerId="ADAL" clId="{84D98C98-43B8-43D2-9ACF-A118AAA326B5}" dt="2021-12-02T05:04:08.856" v="6640" actId="478"/>
          <ac:picMkLst>
            <pc:docMk/>
            <pc:sldMk cId="1415622736" sldId="369"/>
            <ac:picMk id="7" creationId="{0FD5EBE1-DC73-4D4F-B0F0-75E9ADCE2114}"/>
          </ac:picMkLst>
        </pc:picChg>
        <pc:picChg chg="add mod">
          <ac:chgData name="KiHa" userId="cca1b23a-f8aa-456a-973c-70ee1e38d8b1" providerId="ADAL" clId="{84D98C98-43B8-43D2-9ACF-A118AAA326B5}" dt="2021-12-02T11:42:57.828" v="8106" actId="1076"/>
          <ac:picMkLst>
            <pc:docMk/>
            <pc:sldMk cId="1415622736" sldId="369"/>
            <ac:picMk id="8" creationId="{7FC7979F-D4CC-4EC6-9BD9-2688003EDDC1}"/>
          </ac:picMkLst>
        </pc:picChg>
        <pc:picChg chg="add mod">
          <ac:chgData name="KiHa" userId="cca1b23a-f8aa-456a-973c-70ee1e38d8b1" providerId="ADAL" clId="{84D98C98-43B8-43D2-9ACF-A118AAA326B5}" dt="2021-12-02T11:42:59.469" v="8107" actId="1076"/>
          <ac:picMkLst>
            <pc:docMk/>
            <pc:sldMk cId="1415622736" sldId="369"/>
            <ac:picMk id="10" creationId="{40CF513C-50A5-48B0-8318-5D08E6388C25}"/>
          </ac:picMkLst>
        </pc:picChg>
      </pc:sldChg>
      <pc:sldChg chg="addSp delSp modSp add mod">
        <pc:chgData name="KiHa" userId="cca1b23a-f8aa-456a-973c-70ee1e38d8b1" providerId="ADAL" clId="{84D98C98-43B8-43D2-9ACF-A118AAA326B5}" dt="2021-12-04T02:01:40.244" v="8647" actId="20577"/>
        <pc:sldMkLst>
          <pc:docMk/>
          <pc:sldMk cId="3815944315" sldId="370"/>
        </pc:sldMkLst>
        <pc:spChg chg="del">
          <ac:chgData name="KiHa" userId="cca1b23a-f8aa-456a-973c-70ee1e38d8b1" providerId="ADAL" clId="{84D98C98-43B8-43D2-9ACF-A118AAA326B5}" dt="2021-12-02T05:08:07.874" v="6735" actId="478"/>
          <ac:spMkLst>
            <pc:docMk/>
            <pc:sldMk cId="3815944315" sldId="370"/>
            <ac:spMk id="9" creationId="{C01F4D7F-A93E-43FA-8C06-E09B9425DD50}"/>
          </ac:spMkLst>
        </pc:spChg>
        <pc:spChg chg="del">
          <ac:chgData name="KiHa" userId="cca1b23a-f8aa-456a-973c-70ee1e38d8b1" providerId="ADAL" clId="{84D98C98-43B8-43D2-9ACF-A118AAA326B5}" dt="2021-12-02T05:08:07.874" v="6735" actId="478"/>
          <ac:spMkLst>
            <pc:docMk/>
            <pc:sldMk cId="3815944315" sldId="370"/>
            <ac:spMk id="10" creationId="{617A6155-1D2D-44EB-BCDF-0EBABC356AAA}"/>
          </ac:spMkLst>
        </pc:spChg>
        <pc:spChg chg="add mod">
          <ac:chgData name="KiHa" userId="cca1b23a-f8aa-456a-973c-70ee1e38d8b1" providerId="ADAL" clId="{84D98C98-43B8-43D2-9ACF-A118AAA326B5}" dt="2021-12-04T02:01:40.244" v="8647" actId="20577"/>
          <ac:spMkLst>
            <pc:docMk/>
            <pc:sldMk cId="3815944315" sldId="370"/>
            <ac:spMk id="11" creationId="{6A88CFF9-DE01-4A41-9AD1-41FF6EFE92EB}"/>
          </ac:spMkLst>
        </pc:spChg>
        <pc:picChg chg="del">
          <ac:chgData name="KiHa" userId="cca1b23a-f8aa-456a-973c-70ee1e38d8b1" providerId="ADAL" clId="{84D98C98-43B8-43D2-9ACF-A118AAA326B5}" dt="2021-12-02T05:08:07.874" v="6735" actId="478"/>
          <ac:picMkLst>
            <pc:docMk/>
            <pc:sldMk cId="3815944315" sldId="370"/>
            <ac:picMk id="8" creationId="{39AD1282-5371-4D15-BE4B-C08EBD983E6D}"/>
          </ac:picMkLst>
        </pc:picChg>
      </pc:sldChg>
    </pc:docChg>
  </pc:docChgLst>
  <pc:docChgLst>
    <pc:chgData name="KiHa Shin" userId="cca1b23a-f8aa-456a-973c-70ee1e38d8b1" providerId="ADAL" clId="{E8D45718-2629-4B9F-952C-78416B036F4E}"/>
    <pc:docChg chg="undo custSel addSld modSld">
      <pc:chgData name="KiHa Shin" userId="cca1b23a-f8aa-456a-973c-70ee1e38d8b1" providerId="ADAL" clId="{E8D45718-2629-4B9F-952C-78416B036F4E}" dt="2021-08-18T07:10:01.113" v="334" actId="1076"/>
      <pc:docMkLst>
        <pc:docMk/>
      </pc:docMkLst>
      <pc:sldChg chg="addSp delSp modSp mod">
        <pc:chgData name="KiHa Shin" userId="cca1b23a-f8aa-456a-973c-70ee1e38d8b1" providerId="ADAL" clId="{E8D45718-2629-4B9F-952C-78416B036F4E}" dt="2021-08-18T05:55:26.084" v="2"/>
        <pc:sldMkLst>
          <pc:docMk/>
          <pc:sldMk cId="893466845" sldId="364"/>
        </pc:sldMkLst>
        <pc:spChg chg="add del mod">
          <ac:chgData name="KiHa Shin" userId="cca1b23a-f8aa-456a-973c-70ee1e38d8b1" providerId="ADAL" clId="{E8D45718-2629-4B9F-952C-78416B036F4E}" dt="2021-08-18T05:55:26.084" v="2"/>
          <ac:spMkLst>
            <pc:docMk/>
            <pc:sldMk cId="893466845" sldId="364"/>
            <ac:spMk id="10" creationId="{615BC4DC-0EA2-43E0-BE3E-8C3164A2F8DF}"/>
          </ac:spMkLst>
        </pc:spChg>
        <pc:cxnChg chg="mod">
          <ac:chgData name="KiHa Shin" userId="cca1b23a-f8aa-456a-973c-70ee1e38d8b1" providerId="ADAL" clId="{E8D45718-2629-4B9F-952C-78416B036F4E}" dt="2021-08-18T05:53:52.006" v="0" actId="14100"/>
          <ac:cxnSpMkLst>
            <pc:docMk/>
            <pc:sldMk cId="893466845" sldId="364"/>
            <ac:cxnSpMk id="30" creationId="{00000000-0000-0000-0000-000000000000}"/>
          </ac:cxnSpMkLst>
        </pc:cxnChg>
      </pc:sldChg>
      <pc:sldChg chg="addSp delSp modSp add mod">
        <pc:chgData name="KiHa Shin" userId="cca1b23a-f8aa-456a-973c-70ee1e38d8b1" providerId="ADAL" clId="{E8D45718-2629-4B9F-952C-78416B036F4E}" dt="2021-08-18T07:10:01.113" v="334" actId="1076"/>
        <pc:sldMkLst>
          <pc:docMk/>
          <pc:sldMk cId="3809091299" sldId="366"/>
        </pc:sldMkLst>
        <pc:spChg chg="mod">
          <ac:chgData name="KiHa Shin" userId="cca1b23a-f8aa-456a-973c-70ee1e38d8b1" providerId="ADAL" clId="{E8D45718-2629-4B9F-952C-78416B036F4E}" dt="2021-08-18T06:05:42.837" v="223" actId="14100"/>
          <ac:spMkLst>
            <pc:docMk/>
            <pc:sldMk cId="3809091299" sldId="366"/>
            <ac:spMk id="3" creationId="{00000000-0000-0000-0000-000000000000}"/>
          </ac:spMkLst>
        </pc:spChg>
        <pc:spChg chg="del">
          <ac:chgData name="KiHa Shin" userId="cca1b23a-f8aa-456a-973c-70ee1e38d8b1" providerId="ADAL" clId="{E8D45718-2629-4B9F-952C-78416B036F4E}" dt="2021-08-18T05:57:21.012" v="117" actId="478"/>
          <ac:spMkLst>
            <pc:docMk/>
            <pc:sldMk cId="3809091299" sldId="366"/>
            <ac:spMk id="7" creationId="{00000000-0000-0000-0000-000000000000}"/>
          </ac:spMkLst>
        </pc:spChg>
        <pc:spChg chg="del mod">
          <ac:chgData name="KiHa Shin" userId="cca1b23a-f8aa-456a-973c-70ee1e38d8b1" providerId="ADAL" clId="{E8D45718-2629-4B9F-952C-78416B036F4E}" dt="2021-08-18T06:06:18.747" v="229" actId="478"/>
          <ac:spMkLst>
            <pc:docMk/>
            <pc:sldMk cId="3809091299" sldId="366"/>
            <ac:spMk id="8" creationId="{00000000-0000-0000-0000-000000000000}"/>
          </ac:spMkLst>
        </pc:spChg>
        <pc:spChg chg="del">
          <ac:chgData name="KiHa Shin" userId="cca1b23a-f8aa-456a-973c-70ee1e38d8b1" providerId="ADAL" clId="{E8D45718-2629-4B9F-952C-78416B036F4E}" dt="2021-08-18T05:57:17.440" v="116" actId="478"/>
          <ac:spMkLst>
            <pc:docMk/>
            <pc:sldMk cId="3809091299" sldId="366"/>
            <ac:spMk id="13" creationId="{00000000-0000-0000-0000-000000000000}"/>
          </ac:spMkLst>
        </pc:spChg>
        <pc:spChg chg="add mod">
          <ac:chgData name="KiHa Shin" userId="cca1b23a-f8aa-456a-973c-70ee1e38d8b1" providerId="ADAL" clId="{E8D45718-2629-4B9F-952C-78416B036F4E}" dt="2021-08-18T07:10:01.113" v="334" actId="1076"/>
          <ac:spMkLst>
            <pc:docMk/>
            <pc:sldMk cId="3809091299" sldId="366"/>
            <ac:spMk id="14" creationId="{B65DE983-CFA9-47E9-BF08-0781956E8EF2}"/>
          </ac:spMkLst>
        </pc:spChg>
        <pc:spChg chg="del">
          <ac:chgData name="KiHa Shin" userId="cca1b23a-f8aa-456a-973c-70ee1e38d8b1" providerId="ADAL" clId="{E8D45718-2629-4B9F-952C-78416B036F4E}" dt="2021-08-18T05:57:17.440" v="116" actId="478"/>
          <ac:spMkLst>
            <pc:docMk/>
            <pc:sldMk cId="3809091299" sldId="366"/>
            <ac:spMk id="17" creationId="{00000000-0000-0000-0000-000000000000}"/>
          </ac:spMkLst>
        </pc:spChg>
        <pc:spChg chg="mod">
          <ac:chgData name="KiHa Shin" userId="cca1b23a-f8aa-456a-973c-70ee1e38d8b1" providerId="ADAL" clId="{E8D45718-2629-4B9F-952C-78416B036F4E}" dt="2021-08-18T06:05:42.837" v="223" actId="14100"/>
          <ac:spMkLst>
            <pc:docMk/>
            <pc:sldMk cId="3809091299" sldId="366"/>
            <ac:spMk id="21" creationId="{00000000-0000-0000-0000-000000000000}"/>
          </ac:spMkLst>
        </pc:spChg>
        <pc:spChg chg="add mod">
          <ac:chgData name="KiHa Shin" userId="cca1b23a-f8aa-456a-973c-70ee1e38d8b1" providerId="ADAL" clId="{E8D45718-2629-4B9F-952C-78416B036F4E}" dt="2021-08-18T06:05:42.837" v="223" actId="14100"/>
          <ac:spMkLst>
            <pc:docMk/>
            <pc:sldMk cId="3809091299" sldId="366"/>
            <ac:spMk id="24" creationId="{15FF1288-0B79-40B8-A1BC-7CD6701EA67A}"/>
          </ac:spMkLst>
        </pc:spChg>
        <pc:spChg chg="mod">
          <ac:chgData name="KiHa Shin" userId="cca1b23a-f8aa-456a-973c-70ee1e38d8b1" providerId="ADAL" clId="{E8D45718-2629-4B9F-952C-78416B036F4E}" dt="2021-08-18T06:01:15.841" v="173" actId="1076"/>
          <ac:spMkLst>
            <pc:docMk/>
            <pc:sldMk cId="3809091299" sldId="366"/>
            <ac:spMk id="25" creationId="{00000000-0000-0000-0000-000000000000}"/>
          </ac:spMkLst>
        </pc:spChg>
        <pc:spChg chg="mod">
          <ac:chgData name="KiHa Shin" userId="cca1b23a-f8aa-456a-973c-70ee1e38d8b1" providerId="ADAL" clId="{E8D45718-2629-4B9F-952C-78416B036F4E}" dt="2021-08-18T06:36:12.375" v="330" actId="207"/>
          <ac:spMkLst>
            <pc:docMk/>
            <pc:sldMk cId="3809091299" sldId="366"/>
            <ac:spMk id="26" creationId="{00000000-0000-0000-0000-000000000000}"/>
          </ac:spMkLst>
        </pc:spChg>
        <pc:spChg chg="del mod">
          <ac:chgData name="KiHa Shin" userId="cca1b23a-f8aa-456a-973c-70ee1e38d8b1" providerId="ADAL" clId="{E8D45718-2629-4B9F-952C-78416B036F4E}" dt="2021-08-18T06:00:15.754" v="163" actId="478"/>
          <ac:spMkLst>
            <pc:docMk/>
            <pc:sldMk cId="3809091299" sldId="366"/>
            <ac:spMk id="27" creationId="{00000000-0000-0000-0000-000000000000}"/>
          </ac:spMkLst>
        </pc:spChg>
        <pc:spChg chg="add del mod">
          <ac:chgData name="KiHa Shin" userId="cca1b23a-f8aa-456a-973c-70ee1e38d8b1" providerId="ADAL" clId="{E8D45718-2629-4B9F-952C-78416B036F4E}" dt="2021-08-18T05:59:24.434" v="142" actId="478"/>
          <ac:spMkLst>
            <pc:docMk/>
            <pc:sldMk cId="3809091299" sldId="366"/>
            <ac:spMk id="28" creationId="{599474E1-47D6-4D58-AE91-7973FFECD812}"/>
          </ac:spMkLst>
        </pc:spChg>
        <pc:spChg chg="mod">
          <ac:chgData name="KiHa Shin" userId="cca1b23a-f8aa-456a-973c-70ee1e38d8b1" providerId="ADAL" clId="{E8D45718-2629-4B9F-952C-78416B036F4E}" dt="2021-08-18T06:01:15.841" v="173" actId="1076"/>
          <ac:spMkLst>
            <pc:docMk/>
            <pc:sldMk cId="3809091299" sldId="366"/>
            <ac:spMk id="29" creationId="{00000000-0000-0000-0000-000000000000}"/>
          </ac:spMkLst>
        </pc:spChg>
        <pc:spChg chg="add mod">
          <ac:chgData name="KiHa Shin" userId="cca1b23a-f8aa-456a-973c-70ee1e38d8b1" providerId="ADAL" clId="{E8D45718-2629-4B9F-952C-78416B036F4E}" dt="2021-08-18T06:01:15.841" v="173" actId="1076"/>
          <ac:spMkLst>
            <pc:docMk/>
            <pc:sldMk cId="3809091299" sldId="366"/>
            <ac:spMk id="31" creationId="{57611D76-C3D3-4441-A533-80AEB2B06385}"/>
          </ac:spMkLst>
        </pc:spChg>
        <pc:spChg chg="add mod">
          <ac:chgData name="KiHa Shin" userId="cca1b23a-f8aa-456a-973c-70ee1e38d8b1" providerId="ADAL" clId="{E8D45718-2629-4B9F-952C-78416B036F4E}" dt="2021-08-18T06:01:15.841" v="173" actId="1076"/>
          <ac:spMkLst>
            <pc:docMk/>
            <pc:sldMk cId="3809091299" sldId="366"/>
            <ac:spMk id="32" creationId="{D221AB16-0BD3-4336-B3E3-69AD26A1A286}"/>
          </ac:spMkLst>
        </pc:spChg>
        <pc:spChg chg="add del mod">
          <ac:chgData name="KiHa Shin" userId="cca1b23a-f8aa-456a-973c-70ee1e38d8b1" providerId="ADAL" clId="{E8D45718-2629-4B9F-952C-78416B036F4E}" dt="2021-08-18T06:07:50.796" v="232" actId="478"/>
          <ac:spMkLst>
            <pc:docMk/>
            <pc:sldMk cId="3809091299" sldId="366"/>
            <ac:spMk id="33" creationId="{47A3CF35-E579-48FD-BC16-5C2ED94101D1}"/>
          </ac:spMkLst>
        </pc:spChg>
        <pc:spChg chg="add del mod">
          <ac:chgData name="KiHa Shin" userId="cca1b23a-f8aa-456a-973c-70ee1e38d8b1" providerId="ADAL" clId="{E8D45718-2629-4B9F-952C-78416B036F4E}" dt="2021-08-18T06:00:17.093" v="164" actId="478"/>
          <ac:spMkLst>
            <pc:docMk/>
            <pc:sldMk cId="3809091299" sldId="366"/>
            <ac:spMk id="34" creationId="{9138E176-1951-4713-84E4-9F0860AD16BA}"/>
          </ac:spMkLst>
        </pc:spChg>
        <pc:spChg chg="add del mod">
          <ac:chgData name="KiHa Shin" userId="cca1b23a-f8aa-456a-973c-70ee1e38d8b1" providerId="ADAL" clId="{E8D45718-2629-4B9F-952C-78416B036F4E}" dt="2021-08-18T06:12:14.334" v="325" actId="207"/>
          <ac:spMkLst>
            <pc:docMk/>
            <pc:sldMk cId="3809091299" sldId="366"/>
            <ac:spMk id="35" creationId="{00000000-0000-0000-0000-000000000000}"/>
          </ac:spMkLst>
        </pc:spChg>
        <pc:spChg chg="add del mod">
          <ac:chgData name="KiHa Shin" userId="cca1b23a-f8aa-456a-973c-70ee1e38d8b1" providerId="ADAL" clId="{E8D45718-2629-4B9F-952C-78416B036F4E}" dt="2021-08-18T06:05:58.021" v="224" actId="478"/>
          <ac:spMkLst>
            <pc:docMk/>
            <pc:sldMk cId="3809091299" sldId="366"/>
            <ac:spMk id="36" creationId="{B1305E99-1F33-4F84-AB59-16806478F8B5}"/>
          </ac:spMkLst>
        </pc:spChg>
        <pc:spChg chg="del">
          <ac:chgData name="KiHa Shin" userId="cca1b23a-f8aa-456a-973c-70ee1e38d8b1" providerId="ADAL" clId="{E8D45718-2629-4B9F-952C-78416B036F4E}" dt="2021-08-18T05:57:17.440" v="116" actId="478"/>
          <ac:spMkLst>
            <pc:docMk/>
            <pc:sldMk cId="3809091299" sldId="366"/>
            <ac:spMk id="37" creationId="{00000000-0000-0000-0000-000000000000}"/>
          </ac:spMkLst>
        </pc:spChg>
        <pc:spChg chg="add mod">
          <ac:chgData name="KiHa Shin" userId="cca1b23a-f8aa-456a-973c-70ee1e38d8b1" providerId="ADAL" clId="{E8D45718-2629-4B9F-952C-78416B036F4E}" dt="2021-08-18T06:36:24.544" v="331" actId="207"/>
          <ac:spMkLst>
            <pc:docMk/>
            <pc:sldMk cId="3809091299" sldId="366"/>
            <ac:spMk id="38" creationId="{0799AE8E-2E22-4E39-BB84-0A9EF3778BC8}"/>
          </ac:spMkLst>
        </pc:spChg>
        <pc:spChg chg="add mod">
          <ac:chgData name="KiHa Shin" userId="cca1b23a-f8aa-456a-973c-70ee1e38d8b1" providerId="ADAL" clId="{E8D45718-2629-4B9F-952C-78416B036F4E}" dt="2021-08-18T06:08:56.197" v="271" actId="1076"/>
          <ac:spMkLst>
            <pc:docMk/>
            <pc:sldMk cId="3809091299" sldId="366"/>
            <ac:spMk id="39" creationId="{8A53787C-57EC-4850-AD5E-24804CA2C151}"/>
          </ac:spMkLst>
        </pc:spChg>
        <pc:spChg chg="add mod">
          <ac:chgData name="KiHa Shin" userId="cca1b23a-f8aa-456a-973c-70ee1e38d8b1" providerId="ADAL" clId="{E8D45718-2629-4B9F-952C-78416B036F4E}" dt="2021-08-18T06:11:24.725" v="319" actId="1076"/>
          <ac:spMkLst>
            <pc:docMk/>
            <pc:sldMk cId="3809091299" sldId="366"/>
            <ac:spMk id="40" creationId="{6150C672-B693-4A69-B7DF-44403AC439EA}"/>
          </ac:spMkLst>
        </pc:spChg>
        <pc:spChg chg="mod">
          <ac:chgData name="KiHa Shin" userId="cca1b23a-f8aa-456a-973c-70ee1e38d8b1" providerId="ADAL" clId="{E8D45718-2629-4B9F-952C-78416B036F4E}" dt="2021-08-18T06:35:48.605" v="329" actId="1076"/>
          <ac:spMkLst>
            <pc:docMk/>
            <pc:sldMk cId="3809091299" sldId="366"/>
            <ac:spMk id="41" creationId="{00000000-0000-0000-0000-000000000000}"/>
          </ac:spMkLst>
        </pc:spChg>
        <pc:spChg chg="add del mod">
          <ac:chgData name="KiHa Shin" userId="cca1b23a-f8aa-456a-973c-70ee1e38d8b1" providerId="ADAL" clId="{E8D45718-2629-4B9F-952C-78416B036F4E}" dt="2021-08-18T06:09:26.625" v="272" actId="478"/>
          <ac:spMkLst>
            <pc:docMk/>
            <pc:sldMk cId="3809091299" sldId="366"/>
            <ac:spMk id="42" creationId="{8C41170F-090B-493D-88C9-81B9140414E3}"/>
          </ac:spMkLst>
        </pc:spChg>
        <pc:spChg chg="add mod">
          <ac:chgData name="KiHa Shin" userId="cca1b23a-f8aa-456a-973c-70ee1e38d8b1" providerId="ADAL" clId="{E8D45718-2629-4B9F-952C-78416B036F4E}" dt="2021-08-18T06:35:46.370" v="328" actId="14100"/>
          <ac:spMkLst>
            <pc:docMk/>
            <pc:sldMk cId="3809091299" sldId="366"/>
            <ac:spMk id="43" creationId="{2101B3CA-3C2C-42D2-B577-209F8144F822}"/>
          </ac:spMkLst>
        </pc:spChg>
        <pc:spChg chg="add mod">
          <ac:chgData name="KiHa Shin" userId="cca1b23a-f8aa-456a-973c-70ee1e38d8b1" providerId="ADAL" clId="{E8D45718-2629-4B9F-952C-78416B036F4E}" dt="2021-08-18T06:11:48.827" v="324" actId="1076"/>
          <ac:spMkLst>
            <pc:docMk/>
            <pc:sldMk cId="3809091299" sldId="366"/>
            <ac:spMk id="44" creationId="{DE181B6D-5823-4C83-ADEC-4E135BA017C7}"/>
          </ac:spMkLst>
        </pc:spChg>
        <pc:spChg chg="add mod">
          <ac:chgData name="KiHa Shin" userId="cca1b23a-f8aa-456a-973c-70ee1e38d8b1" providerId="ADAL" clId="{E8D45718-2629-4B9F-952C-78416B036F4E}" dt="2021-08-18T06:11:27.541" v="321" actId="1076"/>
          <ac:spMkLst>
            <pc:docMk/>
            <pc:sldMk cId="3809091299" sldId="366"/>
            <ac:spMk id="45" creationId="{EF4EC609-539D-4B54-95F2-94860975C8AF}"/>
          </ac:spMkLst>
        </pc:spChg>
        <pc:spChg chg="add mod">
          <ac:chgData name="KiHa Shin" userId="cca1b23a-f8aa-456a-973c-70ee1e38d8b1" providerId="ADAL" clId="{E8D45718-2629-4B9F-952C-78416B036F4E}" dt="2021-08-18T07:09:53.820" v="333" actId="1076"/>
          <ac:spMkLst>
            <pc:docMk/>
            <pc:sldMk cId="3809091299" sldId="366"/>
            <ac:spMk id="46" creationId="{D35E5AA1-DD5B-4043-8C21-8ED39501BEF2}"/>
          </ac:spMkLst>
        </pc:spChg>
        <pc:spChg chg="mod">
          <ac:chgData name="KiHa Shin" userId="cca1b23a-f8aa-456a-973c-70ee1e38d8b1" providerId="ADAL" clId="{E8D45718-2629-4B9F-952C-78416B036F4E}" dt="2021-08-18T06:01:15.841" v="173" actId="1076"/>
          <ac:spMkLst>
            <pc:docMk/>
            <pc:sldMk cId="3809091299" sldId="366"/>
            <ac:spMk id="56" creationId="{00000000-0000-0000-0000-000000000000}"/>
          </ac:spMkLst>
        </pc:spChg>
        <pc:spChg chg="mod">
          <ac:chgData name="KiHa Shin" userId="cca1b23a-f8aa-456a-973c-70ee1e38d8b1" providerId="ADAL" clId="{E8D45718-2629-4B9F-952C-78416B036F4E}" dt="2021-08-18T06:01:15.841" v="173" actId="1076"/>
          <ac:spMkLst>
            <pc:docMk/>
            <pc:sldMk cId="3809091299" sldId="366"/>
            <ac:spMk id="57" creationId="{00000000-0000-0000-0000-000000000000}"/>
          </ac:spMkLst>
        </pc:spChg>
        <pc:cxnChg chg="add del">
          <ac:chgData name="KiHa Shin" userId="cca1b23a-f8aa-456a-973c-70ee1e38d8b1" providerId="ADAL" clId="{E8D45718-2629-4B9F-952C-78416B036F4E}" dt="2021-08-18T06:04:54.268" v="211" actId="478"/>
          <ac:cxnSpMkLst>
            <pc:docMk/>
            <pc:sldMk cId="3809091299" sldId="366"/>
            <ac:cxnSpMk id="12" creationId="{F2A3FCCE-9597-4CA9-915A-FF8EC443A0A3}"/>
          </ac:cxnSpMkLst>
        </pc:cxnChg>
        <pc:cxnChg chg="del mod">
          <ac:chgData name="KiHa Shin" userId="cca1b23a-f8aa-456a-973c-70ee1e38d8b1" providerId="ADAL" clId="{E8D45718-2629-4B9F-952C-78416B036F4E}" dt="2021-08-18T06:00:41.585" v="169" actId="478"/>
          <ac:cxnSpMkLst>
            <pc:docMk/>
            <pc:sldMk cId="3809091299" sldId="366"/>
            <ac:cxnSpMk id="30" creationId="{00000000-0000-0000-0000-000000000000}"/>
          </ac:cxnSpMkLst>
        </pc:cxn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2-02T01:22:42.3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3096'0,"-2816"8,-53 0,801-6,-10 0,-731 8,76 0,2014-10,-228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2AD1ED-330F-4DDF-B26D-44A5E3B6176F}" type="datetimeFigureOut">
              <a:rPr lang="ko-KR" altLang="en-US" smtClean="0"/>
              <a:t>2021-12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65E5B-C140-4D61-B143-E7DF9807570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805291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9982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1822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4242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2044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4027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718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8448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499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0129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0497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37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1217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1341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0829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9839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513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5570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178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671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9409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249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8101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04A3E887-165E-4360-9EB3-80473604E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92075" y="601663"/>
            <a:ext cx="7507288" cy="4224337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9566F7C1-D966-4700-A4C0-F9F3942E0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477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97.xml"/><Relationship Id="rId21" Type="http://schemas.openxmlformats.org/officeDocument/2006/relationships/image" Target="../media/image9.png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image" Target="../media/image7.emf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10" Type="http://schemas.openxmlformats.org/officeDocument/2006/relationships/tags" Target="../tags/tag104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3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1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157.xml"/><Relationship Id="rId21" Type="http://schemas.openxmlformats.org/officeDocument/2006/relationships/image" Target="../media/image2.png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image" Target="../media/image7.emf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oleObject" Target="../embeddings/oleObject17.bin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7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21" Type="http://schemas.openxmlformats.org/officeDocument/2006/relationships/image" Target="../media/image2.png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image" Target="../media/image7.emf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oleObject" Target="../embeddings/oleObject4.bin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5" y="1626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5" y="1626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C748B5-F48F-4EEF-89B8-16F82C519D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72A0EA9-C916-4964-A8E1-26191C215A85}"/>
              </a:ext>
            </a:extLst>
          </p:cNvPr>
          <p:cNvSpPr/>
          <p:nvPr/>
        </p:nvSpPr>
        <p:spPr bwMode="invGray">
          <a:xfrm>
            <a:off x="0" y="5152309"/>
            <a:ext cx="12192000" cy="1705695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410048-2D54-48BD-A065-B2B2FFAE4407}"/>
              </a:ext>
            </a:extLst>
          </p:cNvPr>
          <p:cNvSpPr/>
          <p:nvPr/>
        </p:nvSpPr>
        <p:spPr bwMode="invGray">
          <a:xfrm>
            <a:off x="0" y="-203201"/>
            <a:ext cx="12192000" cy="7061205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22E3CC-3F3B-4FF3-8C32-92B1C3A6ED96}"/>
              </a:ext>
            </a:extLst>
          </p:cNvPr>
          <p:cNvSpPr/>
          <p:nvPr/>
        </p:nvSpPr>
        <p:spPr bwMode="invGray">
          <a:xfrm>
            <a:off x="9577885" y="34875"/>
            <a:ext cx="2614115" cy="6788257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D625E8-84E7-43FB-8AD2-DC4FB1FA9644}"/>
              </a:ext>
            </a:extLst>
          </p:cNvPr>
          <p:cNvSpPr/>
          <p:nvPr/>
        </p:nvSpPr>
        <p:spPr bwMode="white">
          <a:xfrm>
            <a:off x="6177280" y="-168328"/>
            <a:ext cx="6014720" cy="6858000"/>
          </a:xfrm>
          <a:prstGeom prst="rect">
            <a:avLst/>
          </a:prstGeom>
          <a:gradFill flip="none" rotWithShape="1">
            <a:gsLst>
              <a:gs pos="0">
                <a:srgbClr val="0E2961">
                  <a:tint val="100000"/>
                  <a:shade val="100000"/>
                  <a:satMod val="130000"/>
                  <a:alpha val="39000"/>
                </a:srgbClr>
              </a:gs>
              <a:gs pos="99000">
                <a:srgbClr val="0E2961">
                  <a:alpha val="0"/>
                </a:srgb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4121212-2236-4120-A2F0-00C45FB0C8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 rot="16200000">
            <a:off x="8034584" y="2832328"/>
            <a:ext cx="5700718" cy="1193351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B74A8C93-A51A-4119-90E4-08D693FE65CD}"/>
              </a:ext>
            </a:extLst>
          </p:cNvPr>
          <p:cNvGrpSpPr/>
          <p:nvPr/>
        </p:nvGrpSpPr>
        <p:grpSpPr bwMode="ltGray">
          <a:xfrm>
            <a:off x="673972" y="5614629"/>
            <a:ext cx="836579" cy="781046"/>
            <a:chOff x="4153711" y="2181228"/>
            <a:chExt cx="836578" cy="78104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D935-DEF1-4537-B1C7-4FD7CEA0E2EE}"/>
                </a:ext>
              </a:extLst>
            </p:cNvPr>
            <p:cNvSpPr/>
            <p:nvPr userDrawn="1"/>
          </p:nvSpPr>
          <p:spPr bwMode="ltGray">
            <a:xfrm>
              <a:off x="4153711" y="2181228"/>
              <a:ext cx="836578" cy="78104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1E95155-AA26-4FCA-8AAF-BF28423346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sp>
        <p:nvSpPr>
          <p:cNvPr id="13314" name="Title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673971" y="427486"/>
            <a:ext cx="847815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sz="3200" b="1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73971" y="1679065"/>
            <a:ext cx="847815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8953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73971" y="2715201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895" y="2241394"/>
            <a:ext cx="5997943" cy="3373235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8009106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ckground">
    <p:bg bwMode="inv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6" progId="TCLayout.ActiveDocument.1">
                  <p:embed/>
                </p:oleObj>
              </mc:Choice>
              <mc:Fallback>
                <p:oleObj name="think-cell Slide" r:id="rId19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53" name="Text Placeholder 2"/>
          <p:cNvSpPr>
            <a:spLocks noGrp="1"/>
          </p:cNvSpPr>
          <p:nvPr userDrawn="1">
            <p:ph idx="1"/>
          </p:nvPr>
        </p:nvSpPr>
        <p:spPr bwMode="auto">
          <a:xfrm>
            <a:off x="1976207" y="2554412"/>
            <a:ext cx="5803392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57" name="1. On-page tracker" hidden="1">
            <a:extLst>
              <a:ext uri="{FF2B5EF4-FFF2-40B4-BE49-F238E27FC236}">
                <a16:creationId xmlns:a16="http://schemas.microsoft.com/office/drawing/2014/main" id="{26C01CE9-F390-4819-A6E9-AD430D0CC8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1988" y="952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58" name="3. Unit of measure" hidden="1">
            <a:extLst>
              <a:ext uri="{FF2B5EF4-FFF2-40B4-BE49-F238E27FC236}">
                <a16:creationId xmlns:a16="http://schemas.microsoft.com/office/drawing/2014/main" id="{981AC2A6-25C4-48FE-8E9B-DC36C021E0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1987" y="822858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bg1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59" name="4. Footnote" hidden="1">
            <a:extLst>
              <a:ext uri="{FF2B5EF4-FFF2-40B4-BE49-F238E27FC236}">
                <a16:creationId xmlns:a16="http://schemas.microsoft.com/office/drawing/2014/main" id="{9D706FF8-F8D9-4571-A114-EE9FB508425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1986" y="6436011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>
                <a:solidFill>
                  <a:schemeClr val="bg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A0046A5D-9E2D-40F4-AA90-932AAB980F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1986" y="6641719"/>
            <a:ext cx="112189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7512" indent="-517512" defTabSz="895328">
              <a:tabLst>
                <a:tab pos="612759" algn="l"/>
              </a:tabLst>
            </a:pPr>
            <a:r>
              <a:rPr lang="x-none" sz="800" baseline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  <a:endParaRPr lang="en-US" sz="800" baseline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61" name="ACET" hidden="1">
            <a:extLst>
              <a:ext uri="{FF2B5EF4-FFF2-40B4-BE49-F238E27FC236}">
                <a16:creationId xmlns:a16="http://schemas.microsoft.com/office/drawing/2014/main" id="{FFC1DAF6-6530-43C7-ACBB-AF0A1350187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976208" y="1919457"/>
            <a:ext cx="5801189" cy="510219"/>
            <a:chOff x="915" y="715"/>
            <a:chExt cx="2686" cy="315"/>
          </a:xfrm>
        </p:grpSpPr>
        <p:cxnSp>
          <p:nvCxnSpPr>
            <p:cNvPr id="62" name="AutoShape 249">
              <a:extLst>
                <a:ext uri="{FF2B5EF4-FFF2-40B4-BE49-F238E27FC236}">
                  <a16:creationId xmlns:a16="http://schemas.microsoft.com/office/drawing/2014/main" id="{4B473593-B5BD-4FCF-A281-EEF1363F4928}"/>
                </a:ext>
              </a:extLst>
            </p:cNvPr>
            <p:cNvCxnSpPr>
              <a:cxnSpLocks noChangeShapeType="1"/>
              <a:stCxn id="63" idx="4"/>
              <a:endCxn id="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AutoShape 250">
              <a:extLst>
                <a:ext uri="{FF2B5EF4-FFF2-40B4-BE49-F238E27FC236}">
                  <a16:creationId xmlns:a16="http://schemas.microsoft.com/office/drawing/2014/main" id="{DF0AAA9E-BDEA-42B8-B6D1-347824EF5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>
                  <a:solidFill>
                    <a:schemeClr val="bg1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>
                  <a:solidFill>
                    <a:schemeClr val="bg1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4" name="LegendBoxes" hidden="1">
            <a:extLst>
              <a:ext uri="{FF2B5EF4-FFF2-40B4-BE49-F238E27FC236}">
                <a16:creationId xmlns:a16="http://schemas.microsoft.com/office/drawing/2014/main" id="{061CD956-1302-4476-8692-3B1946359F4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127104" y="870366"/>
            <a:ext cx="763588" cy="996950"/>
            <a:chOff x="4936" y="176"/>
            <a:chExt cx="481" cy="628"/>
          </a:xfrm>
        </p:grpSpPr>
        <p:sp>
          <p:nvSpPr>
            <p:cNvPr id="65" name="Legend1">
              <a:extLst>
                <a:ext uri="{FF2B5EF4-FFF2-40B4-BE49-F238E27FC236}">
                  <a16:creationId xmlns:a16="http://schemas.microsoft.com/office/drawing/2014/main" id="{3A6144B2-CD3E-41E3-903F-6BEC610BC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6" name="LegendRectangle1">
              <a:extLst>
                <a:ext uri="{FF2B5EF4-FFF2-40B4-BE49-F238E27FC236}">
                  <a16:creationId xmlns:a16="http://schemas.microsoft.com/office/drawing/2014/main" id="{7E66CEDC-1353-49C4-9272-3F741F1E6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7" name="Legend2">
              <a:extLst>
                <a:ext uri="{FF2B5EF4-FFF2-40B4-BE49-F238E27FC236}">
                  <a16:creationId xmlns:a16="http://schemas.microsoft.com/office/drawing/2014/main" id="{6A516C21-CF8E-4178-83C1-7F3D276A5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8" name="LegendRectangle2">
              <a:extLst>
                <a:ext uri="{FF2B5EF4-FFF2-40B4-BE49-F238E27FC236}">
                  <a16:creationId xmlns:a16="http://schemas.microsoft.com/office/drawing/2014/main" id="{09362936-11D5-4C7F-A399-2EB26D358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Legend3">
              <a:extLst>
                <a:ext uri="{FF2B5EF4-FFF2-40B4-BE49-F238E27FC236}">
                  <a16:creationId xmlns:a16="http://schemas.microsoft.com/office/drawing/2014/main" id="{361E3962-60D4-4DB2-B18D-1A64C6773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0" name="LegendRectangle3">
              <a:extLst>
                <a:ext uri="{FF2B5EF4-FFF2-40B4-BE49-F238E27FC236}">
                  <a16:creationId xmlns:a16="http://schemas.microsoft.com/office/drawing/2014/main" id="{7125CF2C-D3EA-4AE0-A955-CE2638768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1" name="Legend4">
              <a:extLst>
                <a:ext uri="{FF2B5EF4-FFF2-40B4-BE49-F238E27FC236}">
                  <a16:creationId xmlns:a16="http://schemas.microsoft.com/office/drawing/2014/main" id="{AD92C9B5-017C-441C-8253-9CA5514E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2" name="LegendRectangle4">
              <a:extLst>
                <a:ext uri="{FF2B5EF4-FFF2-40B4-BE49-F238E27FC236}">
                  <a16:creationId xmlns:a16="http://schemas.microsoft.com/office/drawing/2014/main" id="{32438624-C275-4A31-AC3F-95DFB72993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3" name="LegendLines" hidden="1">
            <a:extLst>
              <a:ext uri="{FF2B5EF4-FFF2-40B4-BE49-F238E27FC236}">
                <a16:creationId xmlns:a16="http://schemas.microsoft.com/office/drawing/2014/main" id="{0F05EEA7-F8EA-486A-835B-F0B1DC1496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819123" y="870364"/>
            <a:ext cx="1071564" cy="730250"/>
            <a:chOff x="4750" y="176"/>
            <a:chExt cx="675" cy="460"/>
          </a:xfrm>
        </p:grpSpPr>
        <p:sp>
          <p:nvSpPr>
            <p:cNvPr id="74" name="LineLegend1">
              <a:extLst>
                <a:ext uri="{FF2B5EF4-FFF2-40B4-BE49-F238E27FC236}">
                  <a16:creationId xmlns:a16="http://schemas.microsoft.com/office/drawing/2014/main" id="{64354D1C-4368-4281-9E96-B519C66D56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5" name="LineLegend2">
              <a:extLst>
                <a:ext uri="{FF2B5EF4-FFF2-40B4-BE49-F238E27FC236}">
                  <a16:creationId xmlns:a16="http://schemas.microsoft.com/office/drawing/2014/main" id="{4575DBB0-5BB1-4D86-BDAA-E87E9F961D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6" name="LineLegend3">
              <a:extLst>
                <a:ext uri="{FF2B5EF4-FFF2-40B4-BE49-F238E27FC236}">
                  <a16:creationId xmlns:a16="http://schemas.microsoft.com/office/drawing/2014/main" id="{9E823B16-F74D-4C1D-A32D-88940859F1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7" name="Legend1">
              <a:extLst>
                <a:ext uri="{FF2B5EF4-FFF2-40B4-BE49-F238E27FC236}">
                  <a16:creationId xmlns:a16="http://schemas.microsoft.com/office/drawing/2014/main" id="{545EF77A-86A0-45BF-8D24-F7F784F9A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8" name="Legend2">
              <a:extLst>
                <a:ext uri="{FF2B5EF4-FFF2-40B4-BE49-F238E27FC236}">
                  <a16:creationId xmlns:a16="http://schemas.microsoft.com/office/drawing/2014/main" id="{E937B124-04AC-4E31-A491-4038EF69A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9" name="Legend3">
              <a:extLst>
                <a:ext uri="{FF2B5EF4-FFF2-40B4-BE49-F238E27FC236}">
                  <a16:creationId xmlns:a16="http://schemas.microsoft.com/office/drawing/2014/main" id="{9F1FB184-3F3F-4D1A-8712-01FA218449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</p:grpSp>
      <p:grpSp>
        <p:nvGrpSpPr>
          <p:cNvPr id="80" name="LegendMoons" hidden="1">
            <a:extLst>
              <a:ext uri="{FF2B5EF4-FFF2-40B4-BE49-F238E27FC236}">
                <a16:creationId xmlns:a16="http://schemas.microsoft.com/office/drawing/2014/main" id="{C42BA100-024E-49C4-9E84-972AB2437F08}"/>
              </a:ext>
            </a:extLst>
          </p:cNvPr>
          <p:cNvGrpSpPr/>
          <p:nvPr userDrawn="1"/>
        </p:nvGrpSpPr>
        <p:grpSpPr>
          <a:xfrm>
            <a:off x="11060259" y="870365"/>
            <a:ext cx="830430" cy="1306517"/>
            <a:chOff x="7875175" y="286625"/>
            <a:chExt cx="830430" cy="1306516"/>
          </a:xfrm>
        </p:grpSpPr>
        <p:grpSp>
          <p:nvGrpSpPr>
            <p:cNvPr id="81" name="MoonLegend2">
              <a:extLst>
                <a:ext uri="{FF2B5EF4-FFF2-40B4-BE49-F238E27FC236}">
                  <a16:creationId xmlns:a16="http://schemas.microsoft.com/office/drawing/2014/main" id="{5AF03DAA-D52E-41BA-B9D5-436C50FC10FC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A6963349-BF3A-40F2-B8F5-6DEF53807D0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D1524BE4-D403-4CFA-A718-46683AD79E08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2" name="MoonLegend4">
              <a:extLst>
                <a:ext uri="{FF2B5EF4-FFF2-40B4-BE49-F238E27FC236}">
                  <a16:creationId xmlns:a16="http://schemas.microsoft.com/office/drawing/2014/main" id="{2091F378-4E8D-44B0-8587-30B067554DE6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0CAE5491-4975-4AD6-8F86-AAD5393B2D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6EF52816-08E6-40BE-9E2A-80F7FABAA1E6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3" name="MoonLegend5">
              <a:extLst>
                <a:ext uri="{FF2B5EF4-FFF2-40B4-BE49-F238E27FC236}">
                  <a16:creationId xmlns:a16="http://schemas.microsoft.com/office/drawing/2014/main" id="{5415C1E5-8149-47E4-B29F-FBF153E4276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5" name="Oval 50">
                <a:extLst>
                  <a:ext uri="{FF2B5EF4-FFF2-40B4-BE49-F238E27FC236}">
                    <a16:creationId xmlns:a16="http://schemas.microsoft.com/office/drawing/2014/main" id="{4D98D872-5653-4C10-B683-893C8DD8C3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6" name="Oval 51">
                <a:extLst>
                  <a:ext uri="{FF2B5EF4-FFF2-40B4-BE49-F238E27FC236}">
                    <a16:creationId xmlns:a16="http://schemas.microsoft.com/office/drawing/2014/main" id="{3FA57290-6EFE-4012-9518-5141FA3E63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84" name="Legend1">
              <a:extLst>
                <a:ext uri="{FF2B5EF4-FFF2-40B4-BE49-F238E27FC236}">
                  <a16:creationId xmlns:a16="http://schemas.microsoft.com/office/drawing/2014/main" id="{7ECB4E31-784F-481B-87BA-A66FF4310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5" name="Legend2">
              <a:extLst>
                <a:ext uri="{FF2B5EF4-FFF2-40B4-BE49-F238E27FC236}">
                  <a16:creationId xmlns:a16="http://schemas.microsoft.com/office/drawing/2014/main" id="{60B11E27-E33B-4794-8847-C66C7A3DCE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4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6" name="Legend3">
              <a:extLst>
                <a:ext uri="{FF2B5EF4-FFF2-40B4-BE49-F238E27FC236}">
                  <a16:creationId xmlns:a16="http://schemas.microsoft.com/office/drawing/2014/main" id="{2A7E23B4-0854-4AAE-9A65-40C8EABA1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7" name="Legend4">
              <a:extLst>
                <a:ext uri="{FF2B5EF4-FFF2-40B4-BE49-F238E27FC236}">
                  <a16:creationId xmlns:a16="http://schemas.microsoft.com/office/drawing/2014/main" id="{D5430855-3C5B-4475-8731-1AC553275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8" name="Legend5">
              <a:extLst>
                <a:ext uri="{FF2B5EF4-FFF2-40B4-BE49-F238E27FC236}">
                  <a16:creationId xmlns:a16="http://schemas.microsoft.com/office/drawing/2014/main" id="{CEC80A55-041C-4ACA-AA7E-305D9D1C4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grpSp>
          <p:nvGrpSpPr>
            <p:cNvPr id="89" name="MoonLegend3">
              <a:extLst>
                <a:ext uri="{FF2B5EF4-FFF2-40B4-BE49-F238E27FC236}">
                  <a16:creationId xmlns:a16="http://schemas.microsoft.com/office/drawing/2014/main" id="{32DD3DB6-E7C5-469F-A723-8DB28E67476C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3" name="Oval 47">
                <a:extLst>
                  <a:ext uri="{FF2B5EF4-FFF2-40B4-BE49-F238E27FC236}">
                    <a16:creationId xmlns:a16="http://schemas.microsoft.com/office/drawing/2014/main" id="{442A3159-0E1A-4EA6-A890-ECF3B1696EA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4" name="Arc 48">
                <a:extLst>
                  <a:ext uri="{FF2B5EF4-FFF2-40B4-BE49-F238E27FC236}">
                    <a16:creationId xmlns:a16="http://schemas.microsoft.com/office/drawing/2014/main" id="{DA057DAB-F6B6-463D-A54B-A27D6048F23B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90" name="MoonLegend1">
              <a:extLst>
                <a:ext uri="{FF2B5EF4-FFF2-40B4-BE49-F238E27FC236}">
                  <a16:creationId xmlns:a16="http://schemas.microsoft.com/office/drawing/2014/main" id="{212FCB01-C7F9-4797-AEA8-8C962D096922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1" name="Oval 41">
                <a:extLst>
                  <a:ext uri="{FF2B5EF4-FFF2-40B4-BE49-F238E27FC236}">
                    <a16:creationId xmlns:a16="http://schemas.microsoft.com/office/drawing/2014/main" id="{CA3DEA1B-320E-4F6B-AAFD-A697D3DE17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2" name="Arc 42">
                <a:extLst>
                  <a:ext uri="{FF2B5EF4-FFF2-40B4-BE49-F238E27FC236}">
                    <a16:creationId xmlns:a16="http://schemas.microsoft.com/office/drawing/2014/main" id="{48605A96-1529-44BD-A3B7-D70AE8D07542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101" name="Sticker" hidden="1">
            <a:extLst>
              <a:ext uri="{FF2B5EF4-FFF2-40B4-BE49-F238E27FC236}">
                <a16:creationId xmlns:a16="http://schemas.microsoft.com/office/drawing/2014/main" id="{4F45F9F5-5C38-4DD0-A154-5DC3E9F26BBB}"/>
              </a:ext>
            </a:extLst>
          </p:cNvPr>
          <p:cNvGrpSpPr/>
          <p:nvPr userDrawn="1"/>
        </p:nvGrpSpPr>
        <p:grpSpPr bwMode="auto">
          <a:xfrm>
            <a:off x="10823795" y="870364"/>
            <a:ext cx="1066895" cy="212367"/>
            <a:chOff x="7673880" y="285750"/>
            <a:chExt cx="1066895" cy="212366"/>
          </a:xfrm>
        </p:grpSpPr>
        <p:sp>
          <p:nvSpPr>
            <p:cNvPr id="102" name="StickerRectangle">
              <a:extLst>
                <a:ext uri="{FF2B5EF4-FFF2-40B4-BE49-F238E27FC236}">
                  <a16:creationId xmlns:a16="http://schemas.microsoft.com/office/drawing/2014/main" id="{51D65883-6A2B-45D5-BD0B-2B7FA0E52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3" name="AutoShape 31">
              <a:extLst>
                <a:ext uri="{FF2B5EF4-FFF2-40B4-BE49-F238E27FC236}">
                  <a16:creationId xmlns:a16="http://schemas.microsoft.com/office/drawing/2014/main" id="{16454A28-CEF4-4675-AD13-165EDF6755CF}"/>
                </a:ext>
              </a:extLst>
            </p:cNvPr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>
              <a:extLst>
                <a:ext uri="{FF2B5EF4-FFF2-40B4-BE49-F238E27FC236}">
                  <a16:creationId xmlns:a16="http://schemas.microsoft.com/office/drawing/2014/main" id="{329BF573-F9C6-444B-985A-1C9DB10250AD}"/>
                </a:ext>
              </a:extLst>
            </p:cNvPr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5" name="Slide Number">
            <a:extLst>
              <a:ext uri="{FF2B5EF4-FFF2-40B4-BE49-F238E27FC236}">
                <a16:creationId xmlns:a16="http://schemas.microsoft.com/office/drawing/2014/main" id="{2298D800-64EB-4DDB-A04B-D891F6F67B5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62437" y="664171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E8B5A789-B61A-4EA1-9C97-A347F2497A4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10637894" y="255397"/>
            <a:ext cx="1249577" cy="262107"/>
          </a:xfrm>
          <a:prstGeom prst="rect">
            <a:avLst/>
          </a:prstGeom>
        </p:spPr>
      </p:pic>
      <p:sp>
        <p:nvSpPr>
          <p:cNvPr id="107" name="Title">
            <a:extLst>
              <a:ext uri="{FF2B5EF4-FFF2-40B4-BE49-F238E27FC236}">
                <a16:creationId xmlns:a16="http://schemas.microsoft.com/office/drawing/2014/main" id="{C00B680E-D302-4E35-B782-D6D400D955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5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40622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41453D-BEE1-4FFC-BE7C-8E35E8D38C3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38A7A5-1A0B-4634-AAE9-D484D2156451}"/>
              </a:ext>
            </a:extLst>
          </p:cNvPr>
          <p:cNvSpPr/>
          <p:nvPr/>
        </p:nvSpPr>
        <p:spPr bwMode="white">
          <a:xfrm>
            <a:off x="11687" y="0"/>
            <a:ext cx="12191999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F5D58C-1466-4CB5-B5E5-CC996967C4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37894" y="255397"/>
            <a:ext cx="1249577" cy="262107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FFB82DDE-273F-4612-A47A-0ACDCF2309B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5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8313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16ADEDEE-6EBD-4D9A-AEA5-6D9D2C5E34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5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181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A4145E9-4012-4979-A9C1-384832A0F6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3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A4145E9-4012-4979-A9C1-384832A0F6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23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310490-565A-4927-8C65-3297C0578B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5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9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4621432"/>
            <a:ext cx="12192000" cy="22365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527921" y="6063231"/>
            <a:ext cx="1256345" cy="710108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9CB0DAD-41C1-4406-A9E3-43850A59D408}"/>
              </a:ext>
            </a:extLst>
          </p:cNvPr>
          <p:cNvSpPr txBox="1">
            <a:spLocks/>
          </p:cNvSpPr>
          <p:nvPr/>
        </p:nvSpPr>
        <p:spPr>
          <a:xfrm>
            <a:off x="11892790" y="657478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1000" smtClean="0">
                <a:solidFill>
                  <a:schemeClr val="tx1"/>
                </a:solidFill>
              </a:rPr>
              <a:pPr lvl="0" algn="ct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13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609600" y="1349350"/>
            <a:ext cx="5384800" cy="4765703"/>
          </a:xfrm>
          <a:prstGeom prst="rect">
            <a:avLst/>
          </a:prstGeom>
        </p:spPr>
        <p:txBody>
          <a:bodyPr>
            <a:normAutofit/>
          </a:bodyPr>
          <a:lstStyle>
            <a:lvl1pPr marL="609539" indent="-609539">
              <a:buClr>
                <a:schemeClr val="accent3"/>
              </a:buClr>
              <a:buFont typeface="Wingdings" charset="2"/>
              <a:buChar char="§"/>
              <a:defRPr sz="3200"/>
            </a:lvl1pPr>
            <a:lvl2pPr marL="1320670" indent="-507950">
              <a:buClr>
                <a:schemeClr val="accent3"/>
              </a:buClr>
              <a:buFont typeface="Wingdings" charset="2"/>
              <a:buChar char="§"/>
              <a:defRPr sz="2844"/>
            </a:lvl2pPr>
            <a:lvl3pPr marL="2031796" indent="-406359">
              <a:buClr>
                <a:schemeClr val="accent3"/>
              </a:buClr>
              <a:buFont typeface="Wingdings" charset="2"/>
              <a:buChar char="§"/>
              <a:defRPr sz="2489"/>
            </a:lvl3pPr>
            <a:lvl4pPr marL="2844516" indent="-406359">
              <a:buClr>
                <a:schemeClr val="accent3"/>
              </a:buClr>
              <a:buFont typeface="Wingdings" charset="2"/>
              <a:buChar char="§"/>
              <a:defRPr sz="2133"/>
            </a:lvl4pPr>
            <a:lvl5pPr marL="3657235" indent="-406359">
              <a:buClr>
                <a:schemeClr val="accent3"/>
              </a:buClr>
              <a:buFont typeface="Wingdings" charset="2"/>
              <a:buChar char="§"/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97600" y="1349350"/>
            <a:ext cx="5384800" cy="4765703"/>
          </a:xfrm>
          <a:prstGeom prst="rect">
            <a:avLst/>
          </a:prstGeom>
        </p:spPr>
        <p:txBody>
          <a:bodyPr>
            <a:normAutofit/>
          </a:bodyPr>
          <a:lstStyle>
            <a:lvl1pPr marL="609539" indent="-609539">
              <a:buClr>
                <a:schemeClr val="accent3"/>
              </a:buClr>
              <a:buFont typeface="Wingdings" charset="2"/>
              <a:buChar char="§"/>
              <a:defRPr sz="3200"/>
            </a:lvl1pPr>
            <a:lvl2pPr marL="1320670" indent="-507950">
              <a:buClr>
                <a:schemeClr val="accent3"/>
              </a:buClr>
              <a:buFont typeface="Wingdings" charset="2"/>
              <a:buChar char="§"/>
              <a:defRPr sz="2844"/>
            </a:lvl2pPr>
            <a:lvl3pPr marL="2031796" indent="-406359">
              <a:buClr>
                <a:schemeClr val="accent3"/>
              </a:buClr>
              <a:buFont typeface="Wingdings" charset="2"/>
              <a:buChar char="§"/>
              <a:defRPr sz="2489"/>
            </a:lvl3pPr>
            <a:lvl4pPr marL="2844516" indent="-406359">
              <a:buClr>
                <a:schemeClr val="accent3"/>
              </a:buClr>
              <a:buFont typeface="Wingdings" charset="2"/>
              <a:buChar char="§"/>
              <a:defRPr sz="2133"/>
            </a:lvl4pPr>
            <a:lvl5pPr marL="3657235" indent="-406359">
              <a:buClr>
                <a:schemeClr val="accent3"/>
              </a:buClr>
              <a:buFont typeface="Wingdings" charset="2"/>
              <a:buChar char="§"/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465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7" name="Rectangle 6"/>
          <p:cNvSpPr/>
          <p:nvPr userDrawn="1"/>
        </p:nvSpPr>
        <p:spPr>
          <a:xfrm>
            <a:off x="6177280" y="0"/>
            <a:ext cx="601472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898628" y="569977"/>
            <a:ext cx="8679259" cy="1613607"/>
          </a:xfrm>
        </p:spPr>
        <p:txBody>
          <a:bodyPr anchor="t">
            <a:normAutofit/>
          </a:bodyPr>
          <a:lstStyle>
            <a:lvl1pPr algn="l"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98628" y="2326254"/>
            <a:ext cx="8679259" cy="1318735"/>
          </a:xfrm>
        </p:spPr>
        <p:txBody>
          <a:bodyPr lIns="0"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</a:defRPr>
            </a:lvl1pPr>
            <a:lvl2pPr marL="812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0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1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898628" y="5355505"/>
            <a:ext cx="1115437" cy="1041395"/>
            <a:chOff x="4153711" y="2181228"/>
            <a:chExt cx="836578" cy="781046"/>
          </a:xfrm>
        </p:grpSpPr>
        <p:sp>
          <p:nvSpPr>
            <p:cNvPr id="9" name="Rectangle 8"/>
            <p:cNvSpPr/>
            <p:nvPr userDrawn="1"/>
          </p:nvSpPr>
          <p:spPr>
            <a:xfrm>
              <a:off x="4153711" y="2181228"/>
              <a:ext cx="836578" cy="781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76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35713" y="2832326"/>
            <a:ext cx="5700719" cy="119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78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C748B5-F48F-4EEF-89B8-16F82C519D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2" name="Picture 208" descr="Related image">
            <a:extLst>
              <a:ext uri="{FF2B5EF4-FFF2-40B4-BE49-F238E27FC236}">
                <a16:creationId xmlns:a16="http://schemas.microsoft.com/office/drawing/2014/main" id="{1C2075A6-A822-4D86-9BCF-FD60C8742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1470437"/>
            <a:ext cx="9577887" cy="5387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172A0EA9-C916-4964-A8E1-26191C215A85}"/>
              </a:ext>
            </a:extLst>
          </p:cNvPr>
          <p:cNvSpPr/>
          <p:nvPr/>
        </p:nvSpPr>
        <p:spPr bwMode="invGray">
          <a:xfrm>
            <a:off x="0" y="5152305"/>
            <a:ext cx="12192000" cy="1705695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410048-2D54-48BD-A065-B2B2FFAE4407}"/>
              </a:ext>
            </a:extLst>
          </p:cNvPr>
          <p:cNvSpPr/>
          <p:nvPr/>
        </p:nvSpPr>
        <p:spPr bwMode="invGray">
          <a:xfrm>
            <a:off x="0" y="-203200"/>
            <a:ext cx="12192000" cy="3644988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22E3CC-3F3B-4FF3-8C32-92B1C3A6ED96}"/>
              </a:ext>
            </a:extLst>
          </p:cNvPr>
          <p:cNvSpPr/>
          <p:nvPr/>
        </p:nvSpPr>
        <p:spPr bwMode="invGray">
          <a:xfrm>
            <a:off x="9577885" y="34872"/>
            <a:ext cx="2614115" cy="6788257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D625E8-84E7-43FB-8AD2-DC4FB1FA9644}"/>
              </a:ext>
            </a:extLst>
          </p:cNvPr>
          <p:cNvSpPr/>
          <p:nvPr/>
        </p:nvSpPr>
        <p:spPr bwMode="white">
          <a:xfrm>
            <a:off x="6177280" y="-168328"/>
            <a:ext cx="6014720" cy="6858000"/>
          </a:xfrm>
          <a:prstGeom prst="rect">
            <a:avLst/>
          </a:prstGeom>
          <a:gradFill flip="none" rotWithShape="1">
            <a:gsLst>
              <a:gs pos="0">
                <a:srgbClr val="0E2961">
                  <a:tint val="100000"/>
                  <a:shade val="100000"/>
                  <a:satMod val="130000"/>
                  <a:alpha val="39000"/>
                </a:srgbClr>
              </a:gs>
              <a:gs pos="99000">
                <a:srgbClr val="0E2961">
                  <a:alpha val="0"/>
                </a:srgb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4121212-2236-4120-A2F0-00C45FB0C8B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 rot="16200000">
            <a:off x="8034583" y="2832325"/>
            <a:ext cx="5700718" cy="1193351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B74A8C93-A51A-4119-90E4-08D693FE65CD}"/>
              </a:ext>
            </a:extLst>
          </p:cNvPr>
          <p:cNvGrpSpPr/>
          <p:nvPr/>
        </p:nvGrpSpPr>
        <p:grpSpPr bwMode="ltGray">
          <a:xfrm>
            <a:off x="673971" y="5614629"/>
            <a:ext cx="836578" cy="781046"/>
            <a:chOff x="4153711" y="2181228"/>
            <a:chExt cx="836578" cy="78104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D935-DEF1-4537-B1C7-4FD7CEA0E2EE}"/>
                </a:ext>
              </a:extLst>
            </p:cNvPr>
            <p:cNvSpPr/>
            <p:nvPr userDrawn="1"/>
          </p:nvSpPr>
          <p:spPr bwMode="ltGray">
            <a:xfrm>
              <a:off x="4153711" y="2181228"/>
              <a:ext cx="836578" cy="78104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1E95155-AA26-4FCA-8AAF-BF28423346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sp>
        <p:nvSpPr>
          <p:cNvPr id="13314" name="Title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673971" y="427482"/>
            <a:ext cx="847815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sz="3200" b="1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895350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75" algn="l"/>
              </a:tabLst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73971" y="1679063"/>
            <a:ext cx="847815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73971" y="2715201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752533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9DA083E-2502-41D5-8E1E-EEC993C6B7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50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75" algn="l"/>
              </a:tabLst>
            </a:pPr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1938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ckground">
    <p:bg bwMode="inv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6" progId="TCLayout.ActiveDocument.1">
                  <p:embed/>
                </p:oleObj>
              </mc:Choice>
              <mc:Fallback>
                <p:oleObj name="think-cell Slide" r:id="rId19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idx="1"/>
          </p:nvPr>
        </p:nvSpPr>
        <p:spPr bwMode="auto">
          <a:xfrm>
            <a:off x="1976207" y="2554412"/>
            <a:ext cx="5803392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57" name="1. On-page tracker" hidden="1">
            <a:extLst>
              <a:ext uri="{FF2B5EF4-FFF2-40B4-BE49-F238E27FC236}">
                <a16:creationId xmlns:a16="http://schemas.microsoft.com/office/drawing/2014/main" id="{26C01CE9-F390-4819-A6E9-AD430D0CC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86" y="952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58" name="3. Unit of measure" hidden="1">
            <a:extLst>
              <a:ext uri="{FF2B5EF4-FFF2-40B4-BE49-F238E27FC236}">
                <a16:creationId xmlns:a16="http://schemas.microsoft.com/office/drawing/2014/main" id="{981AC2A6-25C4-48FE-8E9B-DC36C021E0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86" y="822858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bg1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59" name="4. Footnote" hidden="1">
            <a:extLst>
              <a:ext uri="{FF2B5EF4-FFF2-40B4-BE49-F238E27FC236}">
                <a16:creationId xmlns:a16="http://schemas.microsoft.com/office/drawing/2014/main" id="{9D706FF8-F8D9-4571-A114-EE9FB50842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85" y="6436009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dirty="0">
                <a:solidFill>
                  <a:schemeClr val="bg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A0046A5D-9E2D-40F4-AA90-932AAB980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85" y="6641717"/>
            <a:ext cx="112189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7525" indent="-517525" defTabSz="895350">
              <a:tabLst>
                <a:tab pos="612775" algn="l"/>
              </a:tabLst>
            </a:pPr>
            <a:r>
              <a:rPr lang="x-none" sz="800" baseline="0" dirty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  <a:endParaRPr lang="en-US" sz="800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61" name="ACET" hidden="1">
            <a:extLst>
              <a:ext uri="{FF2B5EF4-FFF2-40B4-BE49-F238E27FC236}">
                <a16:creationId xmlns:a16="http://schemas.microsoft.com/office/drawing/2014/main" id="{FFC1DAF6-6530-43C7-ACBB-AF0A13501875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919456"/>
            <a:ext cx="5801189" cy="510219"/>
            <a:chOff x="915" y="715"/>
            <a:chExt cx="2686" cy="315"/>
          </a:xfrm>
        </p:grpSpPr>
        <p:cxnSp>
          <p:nvCxnSpPr>
            <p:cNvPr id="62" name="AutoShape 249">
              <a:extLst>
                <a:ext uri="{FF2B5EF4-FFF2-40B4-BE49-F238E27FC236}">
                  <a16:creationId xmlns:a16="http://schemas.microsoft.com/office/drawing/2014/main" id="{4B473593-B5BD-4FCF-A281-EEF1363F4928}"/>
                </a:ext>
              </a:extLst>
            </p:cNvPr>
            <p:cNvCxnSpPr>
              <a:cxnSpLocks noChangeShapeType="1"/>
              <a:stCxn id="63" idx="4"/>
              <a:endCxn id="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AutoShape 250">
              <a:extLst>
                <a:ext uri="{FF2B5EF4-FFF2-40B4-BE49-F238E27FC236}">
                  <a16:creationId xmlns:a16="http://schemas.microsoft.com/office/drawing/2014/main" id="{DF0AAA9E-BDEA-42B8-B6D1-347824EF5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chemeClr val="bg1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chemeClr val="bg1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4" name="LegendBoxes" hidden="1">
            <a:extLst>
              <a:ext uri="{FF2B5EF4-FFF2-40B4-BE49-F238E27FC236}">
                <a16:creationId xmlns:a16="http://schemas.microsoft.com/office/drawing/2014/main" id="{061CD956-1302-4476-8692-3B1946359F4E}"/>
              </a:ext>
            </a:extLst>
          </p:cNvPr>
          <p:cNvGrpSpPr>
            <a:grpSpLocks/>
          </p:cNvGrpSpPr>
          <p:nvPr/>
        </p:nvGrpSpPr>
        <p:grpSpPr bwMode="auto">
          <a:xfrm>
            <a:off x="11127101" y="870364"/>
            <a:ext cx="763588" cy="996951"/>
            <a:chOff x="4936" y="176"/>
            <a:chExt cx="481" cy="628"/>
          </a:xfrm>
        </p:grpSpPr>
        <p:sp>
          <p:nvSpPr>
            <p:cNvPr id="65" name="Legend1">
              <a:extLst>
                <a:ext uri="{FF2B5EF4-FFF2-40B4-BE49-F238E27FC236}">
                  <a16:creationId xmlns:a16="http://schemas.microsoft.com/office/drawing/2014/main" id="{3A6144B2-CD3E-41E3-903F-6BEC610BC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6" name="LegendRectangle1">
              <a:extLst>
                <a:ext uri="{FF2B5EF4-FFF2-40B4-BE49-F238E27FC236}">
                  <a16:creationId xmlns:a16="http://schemas.microsoft.com/office/drawing/2014/main" id="{7E66CEDC-1353-49C4-9272-3F741F1E6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7" name="Legend2">
              <a:extLst>
                <a:ext uri="{FF2B5EF4-FFF2-40B4-BE49-F238E27FC236}">
                  <a16:creationId xmlns:a16="http://schemas.microsoft.com/office/drawing/2014/main" id="{6A516C21-CF8E-4178-83C1-7F3D276A5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8" name="LegendRectangle2">
              <a:extLst>
                <a:ext uri="{FF2B5EF4-FFF2-40B4-BE49-F238E27FC236}">
                  <a16:creationId xmlns:a16="http://schemas.microsoft.com/office/drawing/2014/main" id="{09362936-11D5-4C7F-A399-2EB26D358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Legend3">
              <a:extLst>
                <a:ext uri="{FF2B5EF4-FFF2-40B4-BE49-F238E27FC236}">
                  <a16:creationId xmlns:a16="http://schemas.microsoft.com/office/drawing/2014/main" id="{361E3962-60D4-4DB2-B18D-1A64C6773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0" name="LegendRectangle3">
              <a:extLst>
                <a:ext uri="{FF2B5EF4-FFF2-40B4-BE49-F238E27FC236}">
                  <a16:creationId xmlns:a16="http://schemas.microsoft.com/office/drawing/2014/main" id="{7125CF2C-D3EA-4AE0-A955-CE2638768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1" name="Legend4">
              <a:extLst>
                <a:ext uri="{FF2B5EF4-FFF2-40B4-BE49-F238E27FC236}">
                  <a16:creationId xmlns:a16="http://schemas.microsoft.com/office/drawing/2014/main" id="{AD92C9B5-017C-441C-8253-9CA5514E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2" name="LegendRectangle4">
              <a:extLst>
                <a:ext uri="{FF2B5EF4-FFF2-40B4-BE49-F238E27FC236}">
                  <a16:creationId xmlns:a16="http://schemas.microsoft.com/office/drawing/2014/main" id="{32438624-C275-4A31-AC3F-95DFB72993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3" name="LegendLines" hidden="1">
            <a:extLst>
              <a:ext uri="{FF2B5EF4-FFF2-40B4-BE49-F238E27FC236}">
                <a16:creationId xmlns:a16="http://schemas.microsoft.com/office/drawing/2014/main" id="{0F05EEA7-F8EA-486A-835B-F0B1DC1496CC}"/>
              </a:ext>
            </a:extLst>
          </p:cNvPr>
          <p:cNvGrpSpPr>
            <a:grpSpLocks/>
          </p:cNvGrpSpPr>
          <p:nvPr/>
        </p:nvGrpSpPr>
        <p:grpSpPr bwMode="auto">
          <a:xfrm>
            <a:off x="10819126" y="870364"/>
            <a:ext cx="1071563" cy="730251"/>
            <a:chOff x="4750" y="176"/>
            <a:chExt cx="675" cy="460"/>
          </a:xfrm>
        </p:grpSpPr>
        <p:sp>
          <p:nvSpPr>
            <p:cNvPr id="74" name="LineLegend1">
              <a:extLst>
                <a:ext uri="{FF2B5EF4-FFF2-40B4-BE49-F238E27FC236}">
                  <a16:creationId xmlns:a16="http://schemas.microsoft.com/office/drawing/2014/main" id="{64354D1C-4368-4281-9E96-B519C66D56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5" name="LineLegend2">
              <a:extLst>
                <a:ext uri="{FF2B5EF4-FFF2-40B4-BE49-F238E27FC236}">
                  <a16:creationId xmlns:a16="http://schemas.microsoft.com/office/drawing/2014/main" id="{4575DBB0-5BB1-4D86-BDAA-E87E9F961D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6" name="LineLegend3">
              <a:extLst>
                <a:ext uri="{FF2B5EF4-FFF2-40B4-BE49-F238E27FC236}">
                  <a16:creationId xmlns:a16="http://schemas.microsoft.com/office/drawing/2014/main" id="{9E823B16-F74D-4C1D-A32D-88940859F1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7" name="Legend1">
              <a:extLst>
                <a:ext uri="{FF2B5EF4-FFF2-40B4-BE49-F238E27FC236}">
                  <a16:creationId xmlns:a16="http://schemas.microsoft.com/office/drawing/2014/main" id="{545EF77A-86A0-45BF-8D24-F7F784F9A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8" name="Legend2">
              <a:extLst>
                <a:ext uri="{FF2B5EF4-FFF2-40B4-BE49-F238E27FC236}">
                  <a16:creationId xmlns:a16="http://schemas.microsoft.com/office/drawing/2014/main" id="{E937B124-04AC-4E31-A491-4038EF69A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9" name="Legend3">
              <a:extLst>
                <a:ext uri="{FF2B5EF4-FFF2-40B4-BE49-F238E27FC236}">
                  <a16:creationId xmlns:a16="http://schemas.microsoft.com/office/drawing/2014/main" id="{9F1FB184-3F3F-4D1A-8712-01FA218449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</p:grpSp>
      <p:grpSp>
        <p:nvGrpSpPr>
          <p:cNvPr id="80" name="LegendMoons" hidden="1">
            <a:extLst>
              <a:ext uri="{FF2B5EF4-FFF2-40B4-BE49-F238E27FC236}">
                <a16:creationId xmlns:a16="http://schemas.microsoft.com/office/drawing/2014/main" id="{C42BA100-024E-49C4-9E84-972AB2437F08}"/>
              </a:ext>
            </a:extLst>
          </p:cNvPr>
          <p:cNvGrpSpPr/>
          <p:nvPr/>
        </p:nvGrpSpPr>
        <p:grpSpPr>
          <a:xfrm>
            <a:off x="11060259" y="870364"/>
            <a:ext cx="830430" cy="1306516"/>
            <a:chOff x="7875175" y="286625"/>
            <a:chExt cx="830430" cy="1306516"/>
          </a:xfrm>
        </p:grpSpPr>
        <p:grpSp>
          <p:nvGrpSpPr>
            <p:cNvPr id="81" name="MoonLegend2">
              <a:extLst>
                <a:ext uri="{FF2B5EF4-FFF2-40B4-BE49-F238E27FC236}">
                  <a16:creationId xmlns:a16="http://schemas.microsoft.com/office/drawing/2014/main" id="{5AF03DAA-D52E-41BA-B9D5-436C50FC10FC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A6963349-BF3A-40F2-B8F5-6DEF53807D0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D1524BE4-D403-4CFA-A718-46683AD79E08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2" name="MoonLegend4">
              <a:extLst>
                <a:ext uri="{FF2B5EF4-FFF2-40B4-BE49-F238E27FC236}">
                  <a16:creationId xmlns:a16="http://schemas.microsoft.com/office/drawing/2014/main" id="{2091F378-4E8D-44B0-8587-30B067554DE6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0CAE5491-4975-4AD6-8F86-AAD5393B2D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6EF52816-08E6-40BE-9E2A-80F7FABAA1E6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3" name="MoonLegend5">
              <a:extLst>
                <a:ext uri="{FF2B5EF4-FFF2-40B4-BE49-F238E27FC236}">
                  <a16:creationId xmlns:a16="http://schemas.microsoft.com/office/drawing/2014/main" id="{5415C1E5-8149-47E4-B29F-FBF153E4276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5" name="Oval 50">
                <a:extLst>
                  <a:ext uri="{FF2B5EF4-FFF2-40B4-BE49-F238E27FC236}">
                    <a16:creationId xmlns:a16="http://schemas.microsoft.com/office/drawing/2014/main" id="{4D98D872-5653-4C10-B683-893C8DD8C3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6" name="Oval 51">
                <a:extLst>
                  <a:ext uri="{FF2B5EF4-FFF2-40B4-BE49-F238E27FC236}">
                    <a16:creationId xmlns:a16="http://schemas.microsoft.com/office/drawing/2014/main" id="{3FA57290-6EFE-4012-9518-5141FA3E63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84" name="Legend1">
              <a:extLst>
                <a:ext uri="{FF2B5EF4-FFF2-40B4-BE49-F238E27FC236}">
                  <a16:creationId xmlns:a16="http://schemas.microsoft.com/office/drawing/2014/main" id="{7ECB4E31-784F-481B-87BA-A66FF4310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5" name="Legend2">
              <a:extLst>
                <a:ext uri="{FF2B5EF4-FFF2-40B4-BE49-F238E27FC236}">
                  <a16:creationId xmlns:a16="http://schemas.microsoft.com/office/drawing/2014/main" id="{60B11E27-E33B-4794-8847-C66C7A3DCE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6" name="Legend3">
              <a:extLst>
                <a:ext uri="{FF2B5EF4-FFF2-40B4-BE49-F238E27FC236}">
                  <a16:creationId xmlns:a16="http://schemas.microsoft.com/office/drawing/2014/main" id="{2A7E23B4-0854-4AAE-9A65-40C8EABA1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7" name="Legend4">
              <a:extLst>
                <a:ext uri="{FF2B5EF4-FFF2-40B4-BE49-F238E27FC236}">
                  <a16:creationId xmlns:a16="http://schemas.microsoft.com/office/drawing/2014/main" id="{D5430855-3C5B-4475-8731-1AC553275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8" name="Legend5">
              <a:extLst>
                <a:ext uri="{FF2B5EF4-FFF2-40B4-BE49-F238E27FC236}">
                  <a16:creationId xmlns:a16="http://schemas.microsoft.com/office/drawing/2014/main" id="{CEC80A55-041C-4ACA-AA7E-305D9D1C4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grpSp>
          <p:nvGrpSpPr>
            <p:cNvPr id="89" name="MoonLegend3">
              <a:extLst>
                <a:ext uri="{FF2B5EF4-FFF2-40B4-BE49-F238E27FC236}">
                  <a16:creationId xmlns:a16="http://schemas.microsoft.com/office/drawing/2014/main" id="{32DD3DB6-E7C5-469F-A723-8DB28E67476C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3" name="Oval 47">
                <a:extLst>
                  <a:ext uri="{FF2B5EF4-FFF2-40B4-BE49-F238E27FC236}">
                    <a16:creationId xmlns:a16="http://schemas.microsoft.com/office/drawing/2014/main" id="{442A3159-0E1A-4EA6-A890-ECF3B1696EA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4" name="Arc 48">
                <a:extLst>
                  <a:ext uri="{FF2B5EF4-FFF2-40B4-BE49-F238E27FC236}">
                    <a16:creationId xmlns:a16="http://schemas.microsoft.com/office/drawing/2014/main" id="{DA057DAB-F6B6-463D-A54B-A27D6048F23B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90" name="MoonLegend1">
              <a:extLst>
                <a:ext uri="{FF2B5EF4-FFF2-40B4-BE49-F238E27FC236}">
                  <a16:creationId xmlns:a16="http://schemas.microsoft.com/office/drawing/2014/main" id="{212FCB01-C7F9-4797-AEA8-8C962D096922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1" name="Oval 41">
                <a:extLst>
                  <a:ext uri="{FF2B5EF4-FFF2-40B4-BE49-F238E27FC236}">
                    <a16:creationId xmlns:a16="http://schemas.microsoft.com/office/drawing/2014/main" id="{CA3DEA1B-320E-4F6B-AAFD-A697D3DE17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2" name="Arc 42">
                <a:extLst>
                  <a:ext uri="{FF2B5EF4-FFF2-40B4-BE49-F238E27FC236}">
                    <a16:creationId xmlns:a16="http://schemas.microsoft.com/office/drawing/2014/main" id="{48605A96-1529-44BD-A3B7-D70AE8D07542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101" name="Sticker" hidden="1">
            <a:extLst>
              <a:ext uri="{FF2B5EF4-FFF2-40B4-BE49-F238E27FC236}">
                <a16:creationId xmlns:a16="http://schemas.microsoft.com/office/drawing/2014/main" id="{4F45F9F5-5C38-4DD0-A154-5DC3E9F26BBB}"/>
              </a:ext>
            </a:extLst>
          </p:cNvPr>
          <p:cNvGrpSpPr/>
          <p:nvPr/>
        </p:nvGrpSpPr>
        <p:grpSpPr bwMode="auto">
          <a:xfrm>
            <a:off x="10823794" y="870364"/>
            <a:ext cx="1066895" cy="212366"/>
            <a:chOff x="7673880" y="285750"/>
            <a:chExt cx="1066895" cy="212366"/>
          </a:xfrm>
        </p:grpSpPr>
        <p:sp>
          <p:nvSpPr>
            <p:cNvPr id="102" name="StickerRectangle">
              <a:extLst>
                <a:ext uri="{FF2B5EF4-FFF2-40B4-BE49-F238E27FC236}">
                  <a16:creationId xmlns:a16="http://schemas.microsoft.com/office/drawing/2014/main" id="{51D65883-6A2B-45D5-BD0B-2B7FA0E52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3" name="AutoShape 31">
              <a:extLst>
                <a:ext uri="{FF2B5EF4-FFF2-40B4-BE49-F238E27FC236}">
                  <a16:creationId xmlns:a16="http://schemas.microsoft.com/office/drawing/2014/main" id="{16454A28-CEF4-4675-AD13-165EDF6755CF}"/>
                </a:ext>
              </a:extLst>
            </p:cNvPr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>
              <a:extLst>
                <a:ext uri="{FF2B5EF4-FFF2-40B4-BE49-F238E27FC236}">
                  <a16:creationId xmlns:a16="http://schemas.microsoft.com/office/drawing/2014/main" id="{329BF573-F9C6-444B-985A-1C9DB10250AD}"/>
                </a:ext>
              </a:extLst>
            </p:cNvPr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5" name="Slide Number">
            <a:extLst>
              <a:ext uri="{FF2B5EF4-FFF2-40B4-BE49-F238E27FC236}">
                <a16:creationId xmlns:a16="http://schemas.microsoft.com/office/drawing/2014/main" id="{2298D800-64EB-4DDB-A04B-D891F6F67B5B}"/>
              </a:ext>
            </a:extLst>
          </p:cNvPr>
          <p:cNvSpPr txBox="1">
            <a:spLocks/>
          </p:cNvSpPr>
          <p:nvPr/>
        </p:nvSpPr>
        <p:spPr bwMode="auto">
          <a:xfrm>
            <a:off x="11762436" y="664171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E8B5A789-B61A-4EA1-9C97-A347F2497A4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10637893" y="255397"/>
            <a:ext cx="1249577" cy="262106"/>
          </a:xfrm>
          <a:prstGeom prst="rect">
            <a:avLst/>
          </a:prstGeom>
        </p:spPr>
      </p:pic>
      <p:sp>
        <p:nvSpPr>
          <p:cNvPr id="107" name="Title">
            <a:extLst>
              <a:ext uri="{FF2B5EF4-FFF2-40B4-BE49-F238E27FC236}">
                <a16:creationId xmlns:a16="http://schemas.microsoft.com/office/drawing/2014/main" id="{C00B680E-D302-4E35-B782-D6D400D955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 algn="l" defTabSz="895350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75" algn="l"/>
              </a:tabLst>
            </a:pPr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9893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41453D-BEE1-4FFC-BE7C-8E35E8D38C3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38A7A5-1A0B-4634-AAE9-D484D2156451}"/>
              </a:ext>
            </a:extLst>
          </p:cNvPr>
          <p:cNvSpPr/>
          <p:nvPr/>
        </p:nvSpPr>
        <p:spPr bwMode="white">
          <a:xfrm>
            <a:off x="11686" y="0"/>
            <a:ext cx="12191999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F5D58C-1466-4CB5-B5E5-CC996967C4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37893" y="255397"/>
            <a:ext cx="1249577" cy="262106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FFB82DDE-273F-4612-A47A-0ACDCF2309B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 algn="l" defTabSz="895350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75" algn="l"/>
              </a:tabLst>
            </a:pPr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5753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9DA083E-2502-41D5-8E1E-EEC993C6B7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8218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16ADEDEE-6EBD-4D9A-AEA5-6D9D2C5E34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50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75" algn="l"/>
              </a:tabLst>
            </a:pPr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0377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1C461-EF6B-4977-94B7-2C7579706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A322B-D64C-480D-8884-8CC39833B2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515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ckground">
    <p:bg bwMode="inv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47" imgH="346" progId="TCLayout.ActiveDocument.1">
                  <p:embed/>
                </p:oleObj>
              </mc:Choice>
              <mc:Fallback>
                <p:oleObj name="think-cell Folie" r:id="rId19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idx="1"/>
          </p:nvPr>
        </p:nvSpPr>
        <p:spPr bwMode="auto">
          <a:xfrm>
            <a:off x="1976207" y="2554412"/>
            <a:ext cx="580339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57" name="1. On-page tracker" hidden="1">
            <a:extLst>
              <a:ext uri="{FF2B5EF4-FFF2-40B4-BE49-F238E27FC236}">
                <a16:creationId xmlns:a16="http://schemas.microsoft.com/office/drawing/2014/main" id="{26C01CE9-F390-4819-A6E9-AD430D0CC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89" y="9529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58" name="3. Unit of measure" hidden="1">
            <a:extLst>
              <a:ext uri="{FF2B5EF4-FFF2-40B4-BE49-F238E27FC236}">
                <a16:creationId xmlns:a16="http://schemas.microsoft.com/office/drawing/2014/main" id="{981AC2A6-25C4-48FE-8E9B-DC36C021E0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87" y="822859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bg1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59" name="4. Footnote" hidden="1">
            <a:extLst>
              <a:ext uri="{FF2B5EF4-FFF2-40B4-BE49-F238E27FC236}">
                <a16:creationId xmlns:a16="http://schemas.microsoft.com/office/drawing/2014/main" id="{9D706FF8-F8D9-4571-A114-EE9FB50842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87" y="6436013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>
                <a:solidFill>
                  <a:schemeClr val="bg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A0046A5D-9E2D-40F4-AA90-932AAB980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87" y="6641721"/>
            <a:ext cx="112189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7512" indent="-517512" defTabSz="895328">
              <a:tabLst>
                <a:tab pos="612759" algn="l"/>
              </a:tabLst>
            </a:pPr>
            <a:r>
              <a:rPr lang="x-none" sz="800" baseline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  <a:endParaRPr lang="en-US" sz="800" baseline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61" name="ACET" hidden="1">
            <a:extLst>
              <a:ext uri="{FF2B5EF4-FFF2-40B4-BE49-F238E27FC236}">
                <a16:creationId xmlns:a16="http://schemas.microsoft.com/office/drawing/2014/main" id="{FFC1DAF6-6530-43C7-ACBB-AF0A13501875}"/>
              </a:ext>
            </a:extLst>
          </p:cNvPr>
          <p:cNvGrpSpPr>
            <a:grpSpLocks/>
          </p:cNvGrpSpPr>
          <p:nvPr/>
        </p:nvGrpSpPr>
        <p:grpSpPr bwMode="auto">
          <a:xfrm>
            <a:off x="1976208" y="1919461"/>
            <a:ext cx="5801189" cy="510220"/>
            <a:chOff x="915" y="715"/>
            <a:chExt cx="2686" cy="315"/>
          </a:xfrm>
        </p:grpSpPr>
        <p:cxnSp>
          <p:nvCxnSpPr>
            <p:cNvPr id="62" name="AutoShape 249">
              <a:extLst>
                <a:ext uri="{FF2B5EF4-FFF2-40B4-BE49-F238E27FC236}">
                  <a16:creationId xmlns:a16="http://schemas.microsoft.com/office/drawing/2014/main" id="{4B473593-B5BD-4FCF-A281-EEF1363F4928}"/>
                </a:ext>
              </a:extLst>
            </p:cNvPr>
            <p:cNvCxnSpPr>
              <a:cxnSpLocks noChangeShapeType="1"/>
              <a:stCxn id="63" idx="4"/>
              <a:endCxn id="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AutoShape 250">
              <a:extLst>
                <a:ext uri="{FF2B5EF4-FFF2-40B4-BE49-F238E27FC236}">
                  <a16:creationId xmlns:a16="http://schemas.microsoft.com/office/drawing/2014/main" id="{DF0AAA9E-BDEA-42B8-B6D1-347824EF5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>
                  <a:solidFill>
                    <a:schemeClr val="bg1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>
                  <a:solidFill>
                    <a:schemeClr val="bg1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4" name="LegendBoxes" hidden="1">
            <a:extLst>
              <a:ext uri="{FF2B5EF4-FFF2-40B4-BE49-F238E27FC236}">
                <a16:creationId xmlns:a16="http://schemas.microsoft.com/office/drawing/2014/main" id="{061CD956-1302-4476-8692-3B1946359F4E}"/>
              </a:ext>
            </a:extLst>
          </p:cNvPr>
          <p:cNvGrpSpPr>
            <a:grpSpLocks/>
          </p:cNvGrpSpPr>
          <p:nvPr/>
        </p:nvGrpSpPr>
        <p:grpSpPr bwMode="auto">
          <a:xfrm>
            <a:off x="11127105" y="870368"/>
            <a:ext cx="763588" cy="996951"/>
            <a:chOff x="4936" y="176"/>
            <a:chExt cx="481" cy="628"/>
          </a:xfrm>
        </p:grpSpPr>
        <p:sp>
          <p:nvSpPr>
            <p:cNvPr id="65" name="Legend1">
              <a:extLst>
                <a:ext uri="{FF2B5EF4-FFF2-40B4-BE49-F238E27FC236}">
                  <a16:creationId xmlns:a16="http://schemas.microsoft.com/office/drawing/2014/main" id="{3A6144B2-CD3E-41E3-903F-6BEC610BC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6" name="LegendRectangle1">
              <a:extLst>
                <a:ext uri="{FF2B5EF4-FFF2-40B4-BE49-F238E27FC236}">
                  <a16:creationId xmlns:a16="http://schemas.microsoft.com/office/drawing/2014/main" id="{7E66CEDC-1353-49C4-9272-3F741F1E6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7" name="Legend2">
              <a:extLst>
                <a:ext uri="{FF2B5EF4-FFF2-40B4-BE49-F238E27FC236}">
                  <a16:creationId xmlns:a16="http://schemas.microsoft.com/office/drawing/2014/main" id="{6A516C21-CF8E-4178-83C1-7F3D276A5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8" name="LegendRectangle2">
              <a:extLst>
                <a:ext uri="{FF2B5EF4-FFF2-40B4-BE49-F238E27FC236}">
                  <a16:creationId xmlns:a16="http://schemas.microsoft.com/office/drawing/2014/main" id="{09362936-11D5-4C7F-A399-2EB26D358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Legend3">
              <a:extLst>
                <a:ext uri="{FF2B5EF4-FFF2-40B4-BE49-F238E27FC236}">
                  <a16:creationId xmlns:a16="http://schemas.microsoft.com/office/drawing/2014/main" id="{361E3962-60D4-4DB2-B18D-1A64C6773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0" name="LegendRectangle3">
              <a:extLst>
                <a:ext uri="{FF2B5EF4-FFF2-40B4-BE49-F238E27FC236}">
                  <a16:creationId xmlns:a16="http://schemas.microsoft.com/office/drawing/2014/main" id="{7125CF2C-D3EA-4AE0-A955-CE2638768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1" name="Legend4">
              <a:extLst>
                <a:ext uri="{FF2B5EF4-FFF2-40B4-BE49-F238E27FC236}">
                  <a16:creationId xmlns:a16="http://schemas.microsoft.com/office/drawing/2014/main" id="{AD92C9B5-017C-441C-8253-9CA5514E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2" name="LegendRectangle4">
              <a:extLst>
                <a:ext uri="{FF2B5EF4-FFF2-40B4-BE49-F238E27FC236}">
                  <a16:creationId xmlns:a16="http://schemas.microsoft.com/office/drawing/2014/main" id="{32438624-C275-4A31-AC3F-95DFB72993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3" name="LegendLines" hidden="1">
            <a:extLst>
              <a:ext uri="{FF2B5EF4-FFF2-40B4-BE49-F238E27FC236}">
                <a16:creationId xmlns:a16="http://schemas.microsoft.com/office/drawing/2014/main" id="{0F05EEA7-F8EA-486A-835B-F0B1DC1496CC}"/>
              </a:ext>
            </a:extLst>
          </p:cNvPr>
          <p:cNvGrpSpPr>
            <a:grpSpLocks/>
          </p:cNvGrpSpPr>
          <p:nvPr/>
        </p:nvGrpSpPr>
        <p:grpSpPr bwMode="auto">
          <a:xfrm>
            <a:off x="10819123" y="870368"/>
            <a:ext cx="1071564" cy="730251"/>
            <a:chOff x="4750" y="176"/>
            <a:chExt cx="675" cy="460"/>
          </a:xfrm>
        </p:grpSpPr>
        <p:sp>
          <p:nvSpPr>
            <p:cNvPr id="74" name="LineLegend1">
              <a:extLst>
                <a:ext uri="{FF2B5EF4-FFF2-40B4-BE49-F238E27FC236}">
                  <a16:creationId xmlns:a16="http://schemas.microsoft.com/office/drawing/2014/main" id="{64354D1C-4368-4281-9E96-B519C66D56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5" name="LineLegend2">
              <a:extLst>
                <a:ext uri="{FF2B5EF4-FFF2-40B4-BE49-F238E27FC236}">
                  <a16:creationId xmlns:a16="http://schemas.microsoft.com/office/drawing/2014/main" id="{4575DBB0-5BB1-4D86-BDAA-E87E9F961D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6" name="LineLegend3">
              <a:extLst>
                <a:ext uri="{FF2B5EF4-FFF2-40B4-BE49-F238E27FC236}">
                  <a16:creationId xmlns:a16="http://schemas.microsoft.com/office/drawing/2014/main" id="{9E823B16-F74D-4C1D-A32D-88940859F1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7" name="Legend1">
              <a:extLst>
                <a:ext uri="{FF2B5EF4-FFF2-40B4-BE49-F238E27FC236}">
                  <a16:creationId xmlns:a16="http://schemas.microsoft.com/office/drawing/2014/main" id="{545EF77A-86A0-45BF-8D24-F7F784F9A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8" name="Legend2">
              <a:extLst>
                <a:ext uri="{FF2B5EF4-FFF2-40B4-BE49-F238E27FC236}">
                  <a16:creationId xmlns:a16="http://schemas.microsoft.com/office/drawing/2014/main" id="{E937B124-04AC-4E31-A491-4038EF69A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9" name="Legend3">
              <a:extLst>
                <a:ext uri="{FF2B5EF4-FFF2-40B4-BE49-F238E27FC236}">
                  <a16:creationId xmlns:a16="http://schemas.microsoft.com/office/drawing/2014/main" id="{9F1FB184-3F3F-4D1A-8712-01FA218449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</p:grpSp>
      <p:grpSp>
        <p:nvGrpSpPr>
          <p:cNvPr id="80" name="LegendMoons" hidden="1">
            <a:extLst>
              <a:ext uri="{FF2B5EF4-FFF2-40B4-BE49-F238E27FC236}">
                <a16:creationId xmlns:a16="http://schemas.microsoft.com/office/drawing/2014/main" id="{C42BA100-024E-49C4-9E84-972AB2437F08}"/>
              </a:ext>
            </a:extLst>
          </p:cNvPr>
          <p:cNvGrpSpPr/>
          <p:nvPr/>
        </p:nvGrpSpPr>
        <p:grpSpPr>
          <a:xfrm>
            <a:off x="11060259" y="870364"/>
            <a:ext cx="830430" cy="1306516"/>
            <a:chOff x="7875175" y="286625"/>
            <a:chExt cx="830430" cy="1306516"/>
          </a:xfrm>
        </p:grpSpPr>
        <p:grpSp>
          <p:nvGrpSpPr>
            <p:cNvPr id="81" name="MoonLegend2">
              <a:extLst>
                <a:ext uri="{FF2B5EF4-FFF2-40B4-BE49-F238E27FC236}">
                  <a16:creationId xmlns:a16="http://schemas.microsoft.com/office/drawing/2014/main" id="{5AF03DAA-D52E-41BA-B9D5-436C50FC10FC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A6963349-BF3A-40F2-B8F5-6DEF53807D0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D1524BE4-D403-4CFA-A718-46683AD79E08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2" name="MoonLegend4">
              <a:extLst>
                <a:ext uri="{FF2B5EF4-FFF2-40B4-BE49-F238E27FC236}">
                  <a16:creationId xmlns:a16="http://schemas.microsoft.com/office/drawing/2014/main" id="{2091F378-4E8D-44B0-8587-30B067554DE6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0CAE5491-4975-4AD6-8F86-AAD5393B2D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6EF52816-08E6-40BE-9E2A-80F7FABAA1E6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3" name="MoonLegend5">
              <a:extLst>
                <a:ext uri="{FF2B5EF4-FFF2-40B4-BE49-F238E27FC236}">
                  <a16:creationId xmlns:a16="http://schemas.microsoft.com/office/drawing/2014/main" id="{5415C1E5-8149-47E4-B29F-FBF153E4276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5" name="Oval 50">
                <a:extLst>
                  <a:ext uri="{FF2B5EF4-FFF2-40B4-BE49-F238E27FC236}">
                    <a16:creationId xmlns:a16="http://schemas.microsoft.com/office/drawing/2014/main" id="{4D98D872-5653-4C10-B683-893C8DD8C3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6" name="Oval 51">
                <a:extLst>
                  <a:ext uri="{FF2B5EF4-FFF2-40B4-BE49-F238E27FC236}">
                    <a16:creationId xmlns:a16="http://schemas.microsoft.com/office/drawing/2014/main" id="{3FA57290-6EFE-4012-9518-5141FA3E63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84" name="Legend1">
              <a:extLst>
                <a:ext uri="{FF2B5EF4-FFF2-40B4-BE49-F238E27FC236}">
                  <a16:creationId xmlns:a16="http://schemas.microsoft.com/office/drawing/2014/main" id="{7ECB4E31-784F-481B-87BA-A66FF4310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5" name="Legend2">
              <a:extLst>
                <a:ext uri="{FF2B5EF4-FFF2-40B4-BE49-F238E27FC236}">
                  <a16:creationId xmlns:a16="http://schemas.microsoft.com/office/drawing/2014/main" id="{60B11E27-E33B-4794-8847-C66C7A3DCE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6" name="Legend3">
              <a:extLst>
                <a:ext uri="{FF2B5EF4-FFF2-40B4-BE49-F238E27FC236}">
                  <a16:creationId xmlns:a16="http://schemas.microsoft.com/office/drawing/2014/main" id="{2A7E23B4-0854-4AAE-9A65-40C8EABA1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7" name="Legend4">
              <a:extLst>
                <a:ext uri="{FF2B5EF4-FFF2-40B4-BE49-F238E27FC236}">
                  <a16:creationId xmlns:a16="http://schemas.microsoft.com/office/drawing/2014/main" id="{D5430855-3C5B-4475-8731-1AC553275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8" name="Legend5">
              <a:extLst>
                <a:ext uri="{FF2B5EF4-FFF2-40B4-BE49-F238E27FC236}">
                  <a16:creationId xmlns:a16="http://schemas.microsoft.com/office/drawing/2014/main" id="{CEC80A55-041C-4ACA-AA7E-305D9D1C4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grpSp>
          <p:nvGrpSpPr>
            <p:cNvPr id="89" name="MoonLegend3">
              <a:extLst>
                <a:ext uri="{FF2B5EF4-FFF2-40B4-BE49-F238E27FC236}">
                  <a16:creationId xmlns:a16="http://schemas.microsoft.com/office/drawing/2014/main" id="{32DD3DB6-E7C5-469F-A723-8DB28E67476C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3" name="Oval 47">
                <a:extLst>
                  <a:ext uri="{FF2B5EF4-FFF2-40B4-BE49-F238E27FC236}">
                    <a16:creationId xmlns:a16="http://schemas.microsoft.com/office/drawing/2014/main" id="{442A3159-0E1A-4EA6-A890-ECF3B1696EA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4" name="Arc 48">
                <a:extLst>
                  <a:ext uri="{FF2B5EF4-FFF2-40B4-BE49-F238E27FC236}">
                    <a16:creationId xmlns:a16="http://schemas.microsoft.com/office/drawing/2014/main" id="{DA057DAB-F6B6-463D-A54B-A27D6048F23B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90" name="MoonLegend1">
              <a:extLst>
                <a:ext uri="{FF2B5EF4-FFF2-40B4-BE49-F238E27FC236}">
                  <a16:creationId xmlns:a16="http://schemas.microsoft.com/office/drawing/2014/main" id="{212FCB01-C7F9-4797-AEA8-8C962D096922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1" name="Oval 41">
                <a:extLst>
                  <a:ext uri="{FF2B5EF4-FFF2-40B4-BE49-F238E27FC236}">
                    <a16:creationId xmlns:a16="http://schemas.microsoft.com/office/drawing/2014/main" id="{CA3DEA1B-320E-4F6B-AAFD-A697D3DE17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2" name="Arc 42">
                <a:extLst>
                  <a:ext uri="{FF2B5EF4-FFF2-40B4-BE49-F238E27FC236}">
                    <a16:creationId xmlns:a16="http://schemas.microsoft.com/office/drawing/2014/main" id="{48605A96-1529-44BD-A3B7-D70AE8D07542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101" name="Sticker" hidden="1">
            <a:extLst>
              <a:ext uri="{FF2B5EF4-FFF2-40B4-BE49-F238E27FC236}">
                <a16:creationId xmlns:a16="http://schemas.microsoft.com/office/drawing/2014/main" id="{4F45F9F5-5C38-4DD0-A154-5DC3E9F26BBB}"/>
              </a:ext>
            </a:extLst>
          </p:cNvPr>
          <p:cNvGrpSpPr/>
          <p:nvPr/>
        </p:nvGrpSpPr>
        <p:grpSpPr bwMode="auto">
          <a:xfrm>
            <a:off x="10823801" y="870366"/>
            <a:ext cx="1066894" cy="212366"/>
            <a:chOff x="7673883" y="285750"/>
            <a:chExt cx="1066892" cy="212366"/>
          </a:xfrm>
        </p:grpSpPr>
        <p:sp>
          <p:nvSpPr>
            <p:cNvPr id="102" name="StickerRectangle">
              <a:extLst>
                <a:ext uri="{FF2B5EF4-FFF2-40B4-BE49-F238E27FC236}">
                  <a16:creationId xmlns:a16="http://schemas.microsoft.com/office/drawing/2014/main" id="{51D65883-6A2B-45D5-BD0B-2B7FA0E52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3" y="285750"/>
              <a:ext cx="106689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>
                <a:buClr>
                  <a:schemeClr val="tx2"/>
                </a:buClr>
              </a:pPr>
              <a:r>
                <a:rPr lang="en-US" sz="1200">
                  <a:solidFill>
                    <a:schemeClr val="bg1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3" name="AutoShape 31">
              <a:extLst>
                <a:ext uri="{FF2B5EF4-FFF2-40B4-BE49-F238E27FC236}">
                  <a16:creationId xmlns:a16="http://schemas.microsoft.com/office/drawing/2014/main" id="{16454A28-CEF4-4675-AD13-165EDF6755CF}"/>
                </a:ext>
              </a:extLst>
            </p:cNvPr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767388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>
              <a:extLst>
                <a:ext uri="{FF2B5EF4-FFF2-40B4-BE49-F238E27FC236}">
                  <a16:creationId xmlns:a16="http://schemas.microsoft.com/office/drawing/2014/main" id="{329BF573-F9C6-444B-985A-1C9DB10250AD}"/>
                </a:ext>
              </a:extLst>
            </p:cNvPr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7673883" y="498116"/>
              <a:ext cx="1066892" cy="0"/>
            </a:xfrm>
            <a:prstGeom prst="straightConnector1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5" name="Slide Number">
            <a:extLst>
              <a:ext uri="{FF2B5EF4-FFF2-40B4-BE49-F238E27FC236}">
                <a16:creationId xmlns:a16="http://schemas.microsoft.com/office/drawing/2014/main" id="{2298D800-64EB-4DDB-A04B-D891F6F67B5B}"/>
              </a:ext>
            </a:extLst>
          </p:cNvPr>
          <p:cNvSpPr txBox="1">
            <a:spLocks/>
          </p:cNvSpPr>
          <p:nvPr/>
        </p:nvSpPr>
        <p:spPr bwMode="auto">
          <a:xfrm>
            <a:off x="11762439" y="664172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E8B5A789-B61A-4EA1-9C97-A347F2497A4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10637896" y="255397"/>
            <a:ext cx="1249577" cy="262106"/>
          </a:xfrm>
          <a:prstGeom prst="rect">
            <a:avLst/>
          </a:prstGeom>
        </p:spPr>
      </p:pic>
      <p:sp>
        <p:nvSpPr>
          <p:cNvPr id="107" name="Title">
            <a:extLst>
              <a:ext uri="{FF2B5EF4-FFF2-40B4-BE49-F238E27FC236}">
                <a16:creationId xmlns:a16="http://schemas.microsoft.com/office/drawing/2014/main" id="{C00B680E-D302-4E35-B782-D6D400D955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96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16ADEDEE-6EBD-4D9A-AEA5-6D9D2C5E34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357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4" y="228606"/>
            <a:ext cx="6408153" cy="5744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="1" i="0" cap="all" baseline="0">
                <a:solidFill>
                  <a:srgbClr val="0F3974"/>
                </a:solidFill>
                <a:latin typeface="Arial" charset="0"/>
                <a:ea typeface="Arial" charset="0"/>
                <a:cs typeface="Arial" charset="0"/>
              </a:defRPr>
            </a:lvl1pPr>
            <a:lvl2pPr marL="609555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2pPr>
            <a:lvl3pPr marL="1219108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3pPr>
            <a:lvl4pPr marL="1828664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4pPr>
            <a:lvl5pPr marL="2438218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Widget Toolkit</a:t>
            </a:r>
          </a:p>
        </p:txBody>
      </p:sp>
    </p:spTree>
    <p:extLst>
      <p:ext uri="{BB962C8B-B14F-4D97-AF65-F5344CB8AC3E}">
        <p14:creationId xmlns:p14="http://schemas.microsoft.com/office/powerpoint/2010/main" val="418918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10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ad Chart Reco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56" name="Object 5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6303082" y="958074"/>
            <a:ext cx="5888919" cy="341568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36602" y="1026623"/>
            <a:ext cx="5390340" cy="184666"/>
          </a:xfrm>
          <a:prstGeom prst="rect">
            <a:avLst/>
          </a:prstGeom>
          <a:noFill/>
          <a:effectLst/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Font typeface="Arial"/>
              <a:buNone/>
              <a:defRPr sz="1400" b="1">
                <a:solidFill>
                  <a:schemeClr val="tx2"/>
                </a:solidFill>
              </a:defRPr>
            </a:lvl1pPr>
            <a:lvl2pPr marL="0" lvl="1" indent="0">
              <a:spcBef>
                <a:spcPts val="0"/>
              </a:spcBef>
              <a:buFont typeface="Arial"/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Achievements/progress </a:t>
            </a:r>
            <a:r>
              <a:rPr lang="en-US" sz="1200" b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since last week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6486598" y="1026623"/>
            <a:ext cx="5357175" cy="184666"/>
          </a:xfrm>
          <a:prstGeom prst="rect">
            <a:avLst/>
          </a:prstGeom>
          <a:noFill/>
          <a:effectLst/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Font typeface="Arial"/>
              <a:buNone/>
              <a:defRPr sz="1400" b="1">
                <a:solidFill>
                  <a:schemeClr val="tx2"/>
                </a:solidFill>
              </a:defRPr>
            </a:lvl1pPr>
            <a:lvl2pPr marL="0" lvl="1" indent="0">
              <a:spcBef>
                <a:spcPts val="0"/>
              </a:spcBef>
              <a:buFont typeface="Arial"/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Milestones and next steps</a:t>
            </a:r>
            <a:r>
              <a:rPr lang="en-US" sz="1200" b="0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en-US" sz="1200" b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until next</a:t>
            </a:r>
            <a:r>
              <a:rPr lang="en-US" sz="1200" b="0" baseline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 week</a:t>
            </a:r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-6" y="1273335"/>
            <a:ext cx="5716879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H="1">
            <a:off x="6486597" y="1273335"/>
            <a:ext cx="5705403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-248577" y="3744932"/>
            <a:ext cx="34304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 userDrawn="1"/>
        </p:nvSpPr>
        <p:spPr>
          <a:xfrm>
            <a:off x="6317329" y="4373758"/>
            <a:ext cx="5874672" cy="2484242"/>
          </a:xfrm>
          <a:prstGeom prst="rect">
            <a:avLst/>
          </a:prstGeom>
          <a:solidFill>
            <a:schemeClr val="tx2">
              <a:alpha val="67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6486598" y="4426439"/>
            <a:ext cx="51825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b="1" dirty="0">
                <a:solidFill>
                  <a:prstClr val="white"/>
                </a:solidFill>
                <a:latin typeface="Calibri" panose="020F0502020204030204" pitchFamily="34" charset="0"/>
              </a:rPr>
              <a:t>Escalation and decision needs</a:t>
            </a:r>
            <a:endParaRPr lang="en-US" sz="12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6486597" y="4670000"/>
            <a:ext cx="570540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" name="Group 31"/>
          <p:cNvGrpSpPr/>
          <p:nvPr userDrawn="1"/>
        </p:nvGrpSpPr>
        <p:grpSpPr>
          <a:xfrm>
            <a:off x="5716873" y="997377"/>
            <a:ext cx="453841" cy="361822"/>
            <a:chOff x="1981200" y="2394543"/>
            <a:chExt cx="340381" cy="361822"/>
          </a:xfrm>
        </p:grpSpPr>
        <p:sp>
          <p:nvSpPr>
            <p:cNvPr id="33" name="Chevron 32"/>
            <p:cNvSpPr/>
            <p:nvPr/>
          </p:nvSpPr>
          <p:spPr>
            <a:xfrm>
              <a:off x="1981200" y="2489200"/>
              <a:ext cx="152400" cy="182880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4" name="Chevron 33"/>
            <p:cNvSpPr/>
            <p:nvPr/>
          </p:nvSpPr>
          <p:spPr>
            <a:xfrm>
              <a:off x="2020063" y="2394543"/>
              <a:ext cx="301518" cy="361822"/>
            </a:xfrm>
            <a:prstGeom prst="chevron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5" name="TextBox 34"/>
          <p:cNvSpPr txBox="1"/>
          <p:nvPr userDrawn="1"/>
        </p:nvSpPr>
        <p:spPr>
          <a:xfrm>
            <a:off x="736602" y="5562512"/>
            <a:ext cx="5390340" cy="184666"/>
          </a:xfrm>
          <a:prstGeom prst="rect">
            <a:avLst/>
          </a:prstGeom>
          <a:noFill/>
          <a:effectLst/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Font typeface="Arial"/>
              <a:buNone/>
              <a:defRPr sz="1400" b="1">
                <a:solidFill>
                  <a:schemeClr val="tx2"/>
                </a:solidFill>
              </a:defRPr>
            </a:lvl1pPr>
            <a:lvl2pPr marL="0" lvl="1" indent="0">
              <a:spcBef>
                <a:spcPts val="0"/>
              </a:spcBef>
              <a:buFont typeface="Arial"/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Current challenges</a:t>
            </a:r>
            <a:endParaRPr lang="en-US" sz="1200" b="0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1" y="5792124"/>
            <a:ext cx="60111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02471" y="125506"/>
            <a:ext cx="7940040" cy="663388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2000" b="1" i="0" baseline="0">
                <a:solidFill>
                  <a:schemeClr val="tx2"/>
                </a:solidFill>
                <a:latin typeface="Calibri" panose="020F0502020204030204" pitchFamily="34" charset="0"/>
                <a:cs typeface="Arial"/>
              </a:defRPr>
            </a:lvl1pPr>
          </a:lstStyle>
          <a:p>
            <a:r>
              <a:rPr lang="en-US" dirty="0"/>
              <a:t>[Initiative Name here]</a:t>
            </a:r>
          </a:p>
        </p:txBody>
      </p:sp>
      <p:sp>
        <p:nvSpPr>
          <p:cNvPr id="42" name="Rectangle 2"/>
          <p:cNvSpPr>
            <a:spLocks noChangeArrowheads="1"/>
          </p:cNvSpPr>
          <p:nvPr userDrawn="1"/>
        </p:nvSpPr>
        <p:spPr bwMode="auto">
          <a:xfrm>
            <a:off x="202469" y="796882"/>
            <a:ext cx="3048000" cy="635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/>
          <a:lstStyle/>
          <a:p>
            <a:endParaRPr lang="en-US" sz="1632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/>
          </p:nvPr>
        </p:nvSpPr>
        <p:spPr>
          <a:xfrm>
            <a:off x="736601" y="1369555"/>
            <a:ext cx="527458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>
                <a:latin typeface="Calibri" panose="020F0502020204030204" pitchFamily="34" charset="0"/>
              </a:defRPr>
            </a:lvl1pPr>
            <a:lvl2pPr marL="360000" indent="-180000">
              <a:spcBef>
                <a:spcPts val="0"/>
              </a:spcBef>
              <a:defRPr sz="1200">
                <a:latin typeface="Calibri" panose="020F0502020204030204" pitchFamily="34" charset="0"/>
              </a:defRPr>
            </a:lvl2pPr>
            <a:lvl3pPr marL="541338" indent="-180000">
              <a:spcBef>
                <a:spcPts val="0"/>
              </a:spcBef>
              <a:defRPr sz="1200">
                <a:latin typeface="Calibri" panose="020F0502020204030204" pitchFamily="34" charset="0"/>
              </a:defRPr>
            </a:lvl3pPr>
            <a:lvl4pPr marL="719138" indent="-177800">
              <a:spcBef>
                <a:spcPts val="300"/>
              </a:spcBef>
              <a:defRPr sz="1200"/>
            </a:lvl4pPr>
            <a:lvl5pPr marL="896938" indent="-177800"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Text Placeholder 50"/>
          <p:cNvSpPr>
            <a:spLocks noGrp="1"/>
          </p:cNvSpPr>
          <p:nvPr>
            <p:ph type="body" sz="quarter" idx="11"/>
          </p:nvPr>
        </p:nvSpPr>
        <p:spPr>
          <a:xfrm>
            <a:off x="6486598" y="1369555"/>
            <a:ext cx="553968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>
                <a:latin typeface="Calibri" panose="020F0502020204030204" pitchFamily="34" charset="0"/>
              </a:defRPr>
            </a:lvl1pPr>
            <a:lvl2pPr marL="360000" indent="-180000">
              <a:spcBef>
                <a:spcPts val="0"/>
              </a:spcBef>
              <a:defRPr sz="1200">
                <a:latin typeface="Calibri" panose="020F0502020204030204" pitchFamily="34" charset="0"/>
              </a:defRPr>
            </a:lvl2pPr>
            <a:lvl3pPr marL="541338" indent="-180000">
              <a:spcBef>
                <a:spcPts val="0"/>
              </a:spcBef>
              <a:defRPr sz="1200">
                <a:latin typeface="Calibri" panose="020F0502020204030204" pitchFamily="34" charset="0"/>
              </a:defRPr>
            </a:lvl3pPr>
            <a:lvl4pPr marL="719138" indent="-177800">
              <a:spcBef>
                <a:spcPts val="300"/>
              </a:spcBef>
              <a:defRPr sz="1200"/>
            </a:lvl4pPr>
            <a:lvl5pPr marL="896938" indent="-177800"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794477" y="5855902"/>
            <a:ext cx="527458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>
                <a:latin typeface="Calibri" panose="020F0502020204030204" pitchFamily="34" charset="0"/>
              </a:defRPr>
            </a:lvl1pPr>
            <a:lvl2pPr marL="360000" indent="-180000">
              <a:spcBef>
                <a:spcPts val="0"/>
              </a:spcBef>
              <a:defRPr sz="1200">
                <a:latin typeface="Calibri" panose="020F0502020204030204" pitchFamily="34" charset="0"/>
              </a:defRPr>
            </a:lvl2pPr>
            <a:lvl3pPr marL="541338" indent="-180000">
              <a:spcBef>
                <a:spcPts val="0"/>
              </a:spcBef>
              <a:defRPr sz="1200">
                <a:latin typeface="Calibri" panose="020F0502020204030204" pitchFamily="34" charset="0"/>
              </a:defRPr>
            </a:lvl3pPr>
            <a:lvl4pPr marL="719138" indent="-177800">
              <a:spcBef>
                <a:spcPts val="300"/>
              </a:spcBef>
              <a:defRPr sz="1200"/>
            </a:lvl4pPr>
            <a:lvl5pPr marL="896938" indent="-177800"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13"/>
          </p:nvPr>
        </p:nvSpPr>
        <p:spPr>
          <a:xfrm>
            <a:off x="6486598" y="4706487"/>
            <a:ext cx="553968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>
              <a:spcBef>
                <a:spcPts val="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360000" indent="-180000">
              <a:spcBef>
                <a:spcPts val="0"/>
              </a:spcBef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541338" indent="-180000">
              <a:spcBef>
                <a:spcPts val="0"/>
              </a:spcBef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719138" indent="-177800">
              <a:spcBef>
                <a:spcPts val="300"/>
              </a:spcBef>
              <a:defRPr sz="1200"/>
            </a:lvl4pPr>
            <a:lvl5pPr marL="896938" indent="-177800"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202470" y="-11991"/>
            <a:ext cx="1524001" cy="16830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Font typeface="Arial"/>
              <a:buNone/>
              <a:defRPr sz="1400" b="1">
                <a:solidFill>
                  <a:schemeClr val="tx2"/>
                </a:solidFill>
              </a:defRPr>
            </a:lvl1pPr>
            <a:lvl2pPr marL="0" lvl="1" indent="0">
              <a:spcBef>
                <a:spcPts val="0"/>
              </a:spcBef>
              <a:buFont typeface="Arial"/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200" b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WEEKLY</a:t>
            </a:r>
            <a:r>
              <a:rPr lang="en-US" sz="1200" b="0" baseline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 UPDATE</a:t>
            </a:r>
            <a:r>
              <a:rPr lang="en-US" sz="1200" b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:</a:t>
            </a:r>
          </a:p>
        </p:txBody>
      </p:sp>
      <p:sp>
        <p:nvSpPr>
          <p:cNvPr id="55" name="Text Placeholder 50"/>
          <p:cNvSpPr>
            <a:spLocks noGrp="1"/>
          </p:cNvSpPr>
          <p:nvPr>
            <p:ph type="body" sz="quarter" idx="14" hasCustomPrompt="1"/>
          </p:nvPr>
        </p:nvSpPr>
        <p:spPr>
          <a:xfrm>
            <a:off x="1492039" y="-26134"/>
            <a:ext cx="1425262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cap="all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360000" indent="-180000">
              <a:spcBef>
                <a:spcPts val="300"/>
              </a:spcBef>
              <a:defRPr sz="1200"/>
            </a:lvl2pPr>
            <a:lvl3pPr marL="541338" indent="-180000">
              <a:spcBef>
                <a:spcPts val="300"/>
              </a:spcBef>
              <a:defRPr sz="1200"/>
            </a:lvl3pPr>
            <a:lvl4pPr marL="719138" indent="-177800">
              <a:spcBef>
                <a:spcPts val="300"/>
              </a:spcBef>
              <a:defRPr sz="1200"/>
            </a:lvl4pPr>
            <a:lvl5pPr marL="896938" indent="-177800"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[PROJECT LEAD NAME]</a:t>
            </a:r>
          </a:p>
        </p:txBody>
      </p:sp>
    </p:spTree>
    <p:extLst>
      <p:ext uri="{BB962C8B-B14F-4D97-AF65-F5344CB8AC3E}">
        <p14:creationId xmlns:p14="http://schemas.microsoft.com/office/powerpoint/2010/main" val="2962589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31788"/>
            <a:ext cx="9355667" cy="3375857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C748B5-F48F-4EEF-89B8-16F82C519D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72A0EA9-C916-4964-A8E1-26191C215A85}"/>
              </a:ext>
            </a:extLst>
          </p:cNvPr>
          <p:cNvSpPr/>
          <p:nvPr userDrawn="1"/>
        </p:nvSpPr>
        <p:spPr bwMode="invGray">
          <a:xfrm>
            <a:off x="0" y="5335290"/>
            <a:ext cx="12192000" cy="1522711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410048-2D54-48BD-A065-B2B2FFAE4407}"/>
              </a:ext>
            </a:extLst>
          </p:cNvPr>
          <p:cNvSpPr/>
          <p:nvPr userDrawn="1"/>
        </p:nvSpPr>
        <p:spPr bwMode="invGray">
          <a:xfrm>
            <a:off x="0" y="-203200"/>
            <a:ext cx="12192000" cy="2624667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22E3CC-3F3B-4FF3-8C32-92B1C3A6ED96}"/>
              </a:ext>
            </a:extLst>
          </p:cNvPr>
          <p:cNvSpPr/>
          <p:nvPr userDrawn="1"/>
        </p:nvSpPr>
        <p:spPr bwMode="invGray">
          <a:xfrm>
            <a:off x="9252282" y="34873"/>
            <a:ext cx="2939719" cy="6788257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D625E8-84E7-43FB-8AD2-DC4FB1FA9644}"/>
              </a:ext>
            </a:extLst>
          </p:cNvPr>
          <p:cNvSpPr/>
          <p:nvPr userDrawn="1"/>
        </p:nvSpPr>
        <p:spPr bwMode="white">
          <a:xfrm>
            <a:off x="6227359" y="-34871"/>
            <a:ext cx="6014720" cy="6858000"/>
          </a:xfrm>
          <a:prstGeom prst="rect">
            <a:avLst/>
          </a:prstGeom>
          <a:gradFill flip="none" rotWithShape="1">
            <a:gsLst>
              <a:gs pos="0">
                <a:srgbClr val="0E2961">
                  <a:tint val="100000"/>
                  <a:shade val="100000"/>
                  <a:satMod val="130000"/>
                  <a:alpha val="39000"/>
                </a:srgbClr>
              </a:gs>
              <a:gs pos="99000">
                <a:srgbClr val="0E2961">
                  <a:alpha val="0"/>
                </a:srgb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4121212-2236-4120-A2F0-00C45FB0C8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 rot="16200000">
            <a:off x="7960265" y="2758006"/>
            <a:ext cx="5700719" cy="1341989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B74A8C93-A51A-4119-90E4-08D693FE65CD}"/>
              </a:ext>
            </a:extLst>
          </p:cNvPr>
          <p:cNvGrpSpPr/>
          <p:nvPr userDrawn="1"/>
        </p:nvGrpSpPr>
        <p:grpSpPr bwMode="ltGray">
          <a:xfrm>
            <a:off x="673971" y="5614630"/>
            <a:ext cx="836579" cy="781047"/>
            <a:chOff x="4153711" y="2181228"/>
            <a:chExt cx="836578" cy="78104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D935-DEF1-4537-B1C7-4FD7CEA0E2EE}"/>
                </a:ext>
              </a:extLst>
            </p:cNvPr>
            <p:cNvSpPr/>
            <p:nvPr userDrawn="1"/>
          </p:nvSpPr>
          <p:spPr bwMode="ltGray">
            <a:xfrm>
              <a:off x="4153711" y="2181228"/>
              <a:ext cx="836578" cy="78104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1E95155-AA26-4FCA-8AAF-BF28423346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sp>
        <p:nvSpPr>
          <p:cNvPr id="13314" name="Title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673971" y="427483"/>
            <a:ext cx="847815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sz="3200" b="1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73971" y="1679065"/>
            <a:ext cx="847815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89532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73971" y="2715202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4372317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28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9DA083E-2502-41D5-8E1E-EEC993C6B7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5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21038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41" Type="http://schemas.openxmlformats.org/officeDocument/2006/relationships/tags" Target="../tags/tag3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image" Target="../media/image1.emf"/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tags" Target="../tags/tag74.xml"/><Relationship Id="rId39" Type="http://schemas.openxmlformats.org/officeDocument/2006/relationships/tags" Target="../tags/tag87.xml"/><Relationship Id="rId21" Type="http://schemas.openxmlformats.org/officeDocument/2006/relationships/tags" Target="../tags/tag69.xml"/><Relationship Id="rId34" Type="http://schemas.openxmlformats.org/officeDocument/2006/relationships/tags" Target="../tags/tag82.xml"/><Relationship Id="rId42" Type="http://schemas.openxmlformats.org/officeDocument/2006/relationships/tags" Target="../tags/tag9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64.xml"/><Relationship Id="rId29" Type="http://schemas.openxmlformats.org/officeDocument/2006/relationships/tags" Target="../tags/tag7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40" Type="http://schemas.openxmlformats.org/officeDocument/2006/relationships/tags" Target="../tags/tag88.xml"/><Relationship Id="rId45" Type="http://schemas.openxmlformats.org/officeDocument/2006/relationships/image" Target="../media/image9.png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tags" Target="../tags/tag79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43" Type="http://schemas.openxmlformats.org/officeDocument/2006/relationships/oleObject" Target="../embeddings/oleObject7.bin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20" Type="http://schemas.openxmlformats.org/officeDocument/2006/relationships/tags" Target="../tags/tag68.xml"/><Relationship Id="rId41" Type="http://schemas.openxmlformats.org/officeDocument/2006/relationships/tags" Target="../tags/tag8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26" Type="http://schemas.openxmlformats.org/officeDocument/2006/relationships/tags" Target="../tags/tag136.xml"/><Relationship Id="rId39" Type="http://schemas.openxmlformats.org/officeDocument/2006/relationships/tags" Target="../tags/tag149.xml"/><Relationship Id="rId21" Type="http://schemas.openxmlformats.org/officeDocument/2006/relationships/tags" Target="../tags/tag131.xml"/><Relationship Id="rId34" Type="http://schemas.openxmlformats.org/officeDocument/2006/relationships/tags" Target="../tags/tag144.xml"/><Relationship Id="rId42" Type="http://schemas.openxmlformats.org/officeDocument/2006/relationships/image" Target="../media/image1.emf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26.xml"/><Relationship Id="rId20" Type="http://schemas.openxmlformats.org/officeDocument/2006/relationships/tags" Target="../tags/tag130.xml"/><Relationship Id="rId29" Type="http://schemas.openxmlformats.org/officeDocument/2006/relationships/tags" Target="../tags/tag139.xml"/><Relationship Id="rId41" Type="http://schemas.openxmlformats.org/officeDocument/2006/relationships/oleObject" Target="../embeddings/oleObject14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21.xml"/><Relationship Id="rId24" Type="http://schemas.openxmlformats.org/officeDocument/2006/relationships/tags" Target="../tags/tag134.xml"/><Relationship Id="rId32" Type="http://schemas.openxmlformats.org/officeDocument/2006/relationships/tags" Target="../tags/tag142.xml"/><Relationship Id="rId37" Type="http://schemas.openxmlformats.org/officeDocument/2006/relationships/tags" Target="../tags/tag147.xml"/><Relationship Id="rId40" Type="http://schemas.openxmlformats.org/officeDocument/2006/relationships/tags" Target="../tags/tag150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25.xml"/><Relationship Id="rId23" Type="http://schemas.openxmlformats.org/officeDocument/2006/relationships/tags" Target="../tags/tag133.xml"/><Relationship Id="rId28" Type="http://schemas.openxmlformats.org/officeDocument/2006/relationships/tags" Target="../tags/tag138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31" Type="http://schemas.openxmlformats.org/officeDocument/2006/relationships/tags" Target="../tags/tag141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tags" Target="../tags/tag132.xml"/><Relationship Id="rId27" Type="http://schemas.openxmlformats.org/officeDocument/2006/relationships/tags" Target="../tags/tag137.xml"/><Relationship Id="rId30" Type="http://schemas.openxmlformats.org/officeDocument/2006/relationships/tags" Target="../tags/tag140.xml"/><Relationship Id="rId35" Type="http://schemas.openxmlformats.org/officeDocument/2006/relationships/tags" Target="../tags/tag145.xml"/><Relationship Id="rId43" Type="http://schemas.openxmlformats.org/officeDocument/2006/relationships/image" Target="../media/image2.png"/><Relationship Id="rId8" Type="http://schemas.openxmlformats.org/officeDocument/2006/relationships/tags" Target="../tags/tag118.xml"/><Relationship Id="rId3" Type="http://schemas.openxmlformats.org/officeDocument/2006/relationships/slideLayout" Target="../slideLayouts/slideLayout18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5" Type="http://schemas.openxmlformats.org/officeDocument/2006/relationships/tags" Target="../tags/tag135.xml"/><Relationship Id="rId33" Type="http://schemas.openxmlformats.org/officeDocument/2006/relationships/tags" Target="../tags/tag143.xml"/><Relationship Id="rId38" Type="http://schemas.openxmlformats.org/officeDocument/2006/relationships/tags" Target="../tags/tag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270" imgH="270" progId="TCLayout.ActiveDocument.1">
                  <p:embed/>
                </p:oleObj>
              </mc:Choice>
              <mc:Fallback>
                <p:oleObj name="think-cell Folie" r:id="rId4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62439" y="664172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B05C748-DA5F-42F0-9DB5-E3C0616E6184}"/>
              </a:ext>
            </a:extLst>
          </p:cNvPr>
          <p:cNvCxnSpPr>
            <a:cxnSpLocks/>
          </p:cNvCxnSpPr>
          <p:nvPr/>
        </p:nvCxnSpPr>
        <p:spPr bwMode="ltGray">
          <a:xfrm flipH="1">
            <a:off x="161985" y="811530"/>
            <a:ext cx="11728704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extLst>
              <a:ext uri="{FF2B5EF4-FFF2-40B4-BE49-F238E27FC236}">
                <a16:creationId xmlns:a16="http://schemas.microsoft.com/office/drawing/2014/main" id="{69460FCC-3727-4054-8687-E1B9A63364CE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637896" y="255397"/>
            <a:ext cx="1249577" cy="262106"/>
          </a:xfrm>
          <a:prstGeom prst="rect">
            <a:avLst/>
          </a:prstGeom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9" y="9529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822859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87" y="6436013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87" y="6641721"/>
            <a:ext cx="112189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7512" indent="-517512" defTabSz="895328">
              <a:tabLst>
                <a:tab pos="612759" algn="l"/>
              </a:tabLst>
            </a:pPr>
            <a:r>
              <a:rPr lang="x-none" sz="800" baseline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  <a:endParaRPr lang="en-US" sz="80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7" y="2554412"/>
            <a:ext cx="580339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919461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8" name="LegendBoxes" hidden="1">
            <a:extLst>
              <a:ext uri="{FF2B5EF4-FFF2-40B4-BE49-F238E27FC236}">
                <a16:creationId xmlns:a16="http://schemas.microsoft.com/office/drawing/2014/main" id="{E76F8D10-D107-4FB1-AC13-52385EFC2270}"/>
              </a:ext>
            </a:extLst>
          </p:cNvPr>
          <p:cNvGrpSpPr>
            <a:grpSpLocks/>
          </p:cNvGrpSpPr>
          <p:nvPr/>
        </p:nvGrpSpPr>
        <p:grpSpPr bwMode="auto">
          <a:xfrm>
            <a:off x="11127105" y="870368"/>
            <a:ext cx="763588" cy="996951"/>
            <a:chOff x="4936" y="176"/>
            <a:chExt cx="481" cy="628"/>
          </a:xfrm>
        </p:grpSpPr>
        <p:sp>
          <p:nvSpPr>
            <p:cNvPr id="69" name="Legend1">
              <a:extLst>
                <a:ext uri="{FF2B5EF4-FFF2-40B4-BE49-F238E27FC236}">
                  <a16:creationId xmlns:a16="http://schemas.microsoft.com/office/drawing/2014/main" id="{162C3CFA-59FF-493D-A8BE-D89306920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Rectangle1">
              <a:extLst>
                <a:ext uri="{FF2B5EF4-FFF2-40B4-BE49-F238E27FC236}">
                  <a16:creationId xmlns:a16="http://schemas.microsoft.com/office/drawing/2014/main" id="{26E1EB86-A200-46B4-ABEC-31F08D95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latin typeface="+mn-lt"/>
              </a:endParaRPr>
            </a:p>
          </p:txBody>
        </p:sp>
        <p:sp>
          <p:nvSpPr>
            <p:cNvPr id="71" name="Legend2">
              <a:extLst>
                <a:ext uri="{FF2B5EF4-FFF2-40B4-BE49-F238E27FC236}">
                  <a16:creationId xmlns:a16="http://schemas.microsoft.com/office/drawing/2014/main" id="{FA9D368D-4210-4848-A19C-1C0AB660C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Rectangle2">
              <a:extLst>
                <a:ext uri="{FF2B5EF4-FFF2-40B4-BE49-F238E27FC236}">
                  <a16:creationId xmlns:a16="http://schemas.microsoft.com/office/drawing/2014/main" id="{9FAFCB70-825C-4B59-A437-59699D9D7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latin typeface="+mn-lt"/>
              </a:endParaRPr>
            </a:p>
          </p:txBody>
        </p:sp>
        <p:sp>
          <p:nvSpPr>
            <p:cNvPr id="73" name="Legend3">
              <a:extLst>
                <a:ext uri="{FF2B5EF4-FFF2-40B4-BE49-F238E27FC236}">
                  <a16:creationId xmlns:a16="http://schemas.microsoft.com/office/drawing/2014/main" id="{9F4771F2-D777-4D16-8900-468C9774C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Rectangle3">
              <a:extLst>
                <a:ext uri="{FF2B5EF4-FFF2-40B4-BE49-F238E27FC236}">
                  <a16:creationId xmlns:a16="http://schemas.microsoft.com/office/drawing/2014/main" id="{10831D34-36FB-4ADD-81EF-37FEA2D03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latin typeface="+mn-lt"/>
              </a:endParaRPr>
            </a:p>
          </p:txBody>
        </p:sp>
        <p:sp>
          <p:nvSpPr>
            <p:cNvPr id="75" name="Legend4">
              <a:extLst>
                <a:ext uri="{FF2B5EF4-FFF2-40B4-BE49-F238E27FC236}">
                  <a16:creationId xmlns:a16="http://schemas.microsoft.com/office/drawing/2014/main" id="{48946ED7-A481-4683-B695-8FE9B5090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Rectangle4">
              <a:extLst>
                <a:ext uri="{FF2B5EF4-FFF2-40B4-BE49-F238E27FC236}">
                  <a16:creationId xmlns:a16="http://schemas.microsoft.com/office/drawing/2014/main" id="{2BB6F4CF-D130-464A-BD40-B5E184DDA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>
                <a:latin typeface="+mn-lt"/>
              </a:endParaRPr>
            </a:p>
          </p:txBody>
        </p:sp>
      </p:grpSp>
      <p:grpSp>
        <p:nvGrpSpPr>
          <p:cNvPr id="77" name="LegendLines" hidden="1">
            <a:extLst>
              <a:ext uri="{FF2B5EF4-FFF2-40B4-BE49-F238E27FC236}">
                <a16:creationId xmlns:a16="http://schemas.microsoft.com/office/drawing/2014/main" id="{F90F58A0-1FB9-485D-8EF2-3C683423B9AF}"/>
              </a:ext>
            </a:extLst>
          </p:cNvPr>
          <p:cNvGrpSpPr>
            <a:grpSpLocks/>
          </p:cNvGrpSpPr>
          <p:nvPr/>
        </p:nvGrpSpPr>
        <p:grpSpPr bwMode="auto">
          <a:xfrm>
            <a:off x="10819123" y="870368"/>
            <a:ext cx="1071564" cy="730251"/>
            <a:chOff x="4750" y="176"/>
            <a:chExt cx="675" cy="460"/>
          </a:xfrm>
        </p:grpSpPr>
        <p:sp>
          <p:nvSpPr>
            <p:cNvPr id="78" name="LineLegend1">
              <a:extLst>
                <a:ext uri="{FF2B5EF4-FFF2-40B4-BE49-F238E27FC236}">
                  <a16:creationId xmlns:a16="http://schemas.microsoft.com/office/drawing/2014/main" id="{C19FE2ED-9E68-4C9F-927B-45C3AB0C80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>
                <a:latin typeface="+mn-lt"/>
              </a:endParaRPr>
            </a:p>
          </p:txBody>
        </p:sp>
        <p:sp>
          <p:nvSpPr>
            <p:cNvPr id="79" name="LineLegend2">
              <a:extLst>
                <a:ext uri="{FF2B5EF4-FFF2-40B4-BE49-F238E27FC236}">
                  <a16:creationId xmlns:a16="http://schemas.microsoft.com/office/drawing/2014/main" id="{6B784133-7AC3-483F-9068-91F96009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>
                <a:latin typeface="+mn-lt"/>
              </a:endParaRPr>
            </a:p>
          </p:txBody>
        </p:sp>
        <p:sp>
          <p:nvSpPr>
            <p:cNvPr id="80" name="LineLegend3">
              <a:extLst>
                <a:ext uri="{FF2B5EF4-FFF2-40B4-BE49-F238E27FC236}">
                  <a16:creationId xmlns:a16="http://schemas.microsoft.com/office/drawing/2014/main" id="{44DA4A33-7C40-48E6-AF45-686D6D482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>
                <a:latin typeface="+mn-lt"/>
              </a:endParaRPr>
            </a:p>
          </p:txBody>
        </p:sp>
        <p:sp>
          <p:nvSpPr>
            <p:cNvPr id="81" name="Legend1">
              <a:extLst>
                <a:ext uri="{FF2B5EF4-FFF2-40B4-BE49-F238E27FC236}">
                  <a16:creationId xmlns:a16="http://schemas.microsoft.com/office/drawing/2014/main" id="{77856850-F8AA-4C40-8D41-6728D3C41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2">
              <a:extLst>
                <a:ext uri="{FF2B5EF4-FFF2-40B4-BE49-F238E27FC236}">
                  <a16:creationId xmlns:a16="http://schemas.microsoft.com/office/drawing/2014/main" id="{74C3C619-4192-4C1C-B043-BF4965B87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3">
              <a:extLst>
                <a:ext uri="{FF2B5EF4-FFF2-40B4-BE49-F238E27FC236}">
                  <a16:creationId xmlns:a16="http://schemas.microsoft.com/office/drawing/2014/main" id="{B99403C6-D82E-4006-9CE4-7277F0B1B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4" name="LegendMoons" hidden="1">
            <a:extLst>
              <a:ext uri="{FF2B5EF4-FFF2-40B4-BE49-F238E27FC236}">
                <a16:creationId xmlns:a16="http://schemas.microsoft.com/office/drawing/2014/main" id="{698A4C16-8A69-4D85-88D7-172B5CDDE66E}"/>
              </a:ext>
            </a:extLst>
          </p:cNvPr>
          <p:cNvGrpSpPr/>
          <p:nvPr/>
        </p:nvGrpSpPr>
        <p:grpSpPr>
          <a:xfrm>
            <a:off x="11060259" y="870364"/>
            <a:ext cx="830430" cy="1306516"/>
            <a:chOff x="7875175" y="286625"/>
            <a:chExt cx="830430" cy="1306516"/>
          </a:xfrm>
        </p:grpSpPr>
        <p:grpSp>
          <p:nvGrpSpPr>
            <p:cNvPr id="85" name="MoonLegend2">
              <a:extLst>
                <a:ext uri="{FF2B5EF4-FFF2-40B4-BE49-F238E27FC236}">
                  <a16:creationId xmlns:a16="http://schemas.microsoft.com/office/drawing/2014/main" id="{6A5C577B-4D1C-46A4-83D4-C5450E141A6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3" name="Oval 41">
                <a:extLst>
                  <a:ext uri="{FF2B5EF4-FFF2-40B4-BE49-F238E27FC236}">
                    <a16:creationId xmlns:a16="http://schemas.microsoft.com/office/drawing/2014/main" id="{109288E3-EFB2-4746-A9A5-4C1ECC6AAB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  <p:sp>
            <p:nvSpPr>
              <p:cNvPr id="104" name="Arc 42">
                <a:extLst>
                  <a:ext uri="{FF2B5EF4-FFF2-40B4-BE49-F238E27FC236}">
                    <a16:creationId xmlns:a16="http://schemas.microsoft.com/office/drawing/2014/main" id="{1B254806-DD5B-485E-809A-0224C40789D3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</p:grpSp>
        <p:grpSp>
          <p:nvGrpSpPr>
            <p:cNvPr id="86" name="MoonLegend4">
              <a:extLst>
                <a:ext uri="{FF2B5EF4-FFF2-40B4-BE49-F238E27FC236}">
                  <a16:creationId xmlns:a16="http://schemas.microsoft.com/office/drawing/2014/main" id="{4C4C6692-D6F4-455F-A936-97F621EBFD0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9882C75B-DC76-4AE9-8426-72A8EE99BC9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2770A732-F2FC-4801-8FAB-3E314736FA4B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</p:grpSp>
        <p:grpSp>
          <p:nvGrpSpPr>
            <p:cNvPr id="87" name="MoonLegend5">
              <a:extLst>
                <a:ext uri="{FF2B5EF4-FFF2-40B4-BE49-F238E27FC236}">
                  <a16:creationId xmlns:a16="http://schemas.microsoft.com/office/drawing/2014/main" id="{C9341C43-AB67-4080-9527-052DE08A9D3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9" name="Oval 50">
                <a:extLst>
                  <a:ext uri="{FF2B5EF4-FFF2-40B4-BE49-F238E27FC236}">
                    <a16:creationId xmlns:a16="http://schemas.microsoft.com/office/drawing/2014/main" id="{66EB8F2A-3DDD-4008-8F46-6E71ABF995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  <p:sp>
            <p:nvSpPr>
              <p:cNvPr id="100" name="Oval 51">
                <a:extLst>
                  <a:ext uri="{FF2B5EF4-FFF2-40B4-BE49-F238E27FC236}">
                    <a16:creationId xmlns:a16="http://schemas.microsoft.com/office/drawing/2014/main" id="{8D472D2B-355F-49CA-B54D-B214E0E17B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</p:grpSp>
        <p:sp>
          <p:nvSpPr>
            <p:cNvPr id="88" name="Legend1">
              <a:extLst>
                <a:ext uri="{FF2B5EF4-FFF2-40B4-BE49-F238E27FC236}">
                  <a16:creationId xmlns:a16="http://schemas.microsoft.com/office/drawing/2014/main" id="{2814EF13-45C9-47A4-ACED-F14FD62D1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9" name="Legend2">
              <a:extLst>
                <a:ext uri="{FF2B5EF4-FFF2-40B4-BE49-F238E27FC236}">
                  <a16:creationId xmlns:a16="http://schemas.microsoft.com/office/drawing/2014/main" id="{39D81050-CDC3-4C5E-9B9B-4FF0BD989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0" name="Legend3">
              <a:extLst>
                <a:ext uri="{FF2B5EF4-FFF2-40B4-BE49-F238E27FC236}">
                  <a16:creationId xmlns:a16="http://schemas.microsoft.com/office/drawing/2014/main" id="{90832D27-D594-4271-AD2E-B54EBE6DF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1" name="Legend4">
              <a:extLst>
                <a:ext uri="{FF2B5EF4-FFF2-40B4-BE49-F238E27FC236}">
                  <a16:creationId xmlns:a16="http://schemas.microsoft.com/office/drawing/2014/main" id="{DCE5D33C-2F94-420E-B721-FE50F8C58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2" name="Legend5">
              <a:extLst>
                <a:ext uri="{FF2B5EF4-FFF2-40B4-BE49-F238E27FC236}">
                  <a16:creationId xmlns:a16="http://schemas.microsoft.com/office/drawing/2014/main" id="{61FAA15B-97DB-4F5D-8C43-BE8BB522B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93" name="MoonLegend3">
              <a:extLst>
                <a:ext uri="{FF2B5EF4-FFF2-40B4-BE49-F238E27FC236}">
                  <a16:creationId xmlns:a16="http://schemas.microsoft.com/office/drawing/2014/main" id="{7B62688A-16E2-4BBB-9892-B354469AEA3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43033034-DCFA-4FED-B4B6-E6D750BA438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3B78AD85-3A13-43AD-B3A6-27AB71604922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</p:grpSp>
        <p:grpSp>
          <p:nvGrpSpPr>
            <p:cNvPr id="94" name="MoonLegend1">
              <a:extLst>
                <a:ext uri="{FF2B5EF4-FFF2-40B4-BE49-F238E27FC236}">
                  <a16:creationId xmlns:a16="http://schemas.microsoft.com/office/drawing/2014/main" id="{2AA9F67B-F322-464A-B204-D259481BC92E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5" name="Oval 41">
                <a:extLst>
                  <a:ext uri="{FF2B5EF4-FFF2-40B4-BE49-F238E27FC236}">
                    <a16:creationId xmlns:a16="http://schemas.microsoft.com/office/drawing/2014/main" id="{9A3B2275-7475-4D34-A4A9-773691959C5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  <p:sp>
            <p:nvSpPr>
              <p:cNvPr id="96" name="Arc 42">
                <a:extLst>
                  <a:ext uri="{FF2B5EF4-FFF2-40B4-BE49-F238E27FC236}">
                    <a16:creationId xmlns:a16="http://schemas.microsoft.com/office/drawing/2014/main" id="{D6CF7435-884E-4EBB-816E-110AED3E079A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>
                  <a:latin typeface="+mn-lt"/>
                </a:endParaRPr>
              </a:p>
            </p:txBody>
          </p:sp>
        </p:grpSp>
      </p:grpSp>
      <p:grpSp>
        <p:nvGrpSpPr>
          <p:cNvPr id="105" name="Sticker" hidden="1">
            <a:extLst>
              <a:ext uri="{FF2B5EF4-FFF2-40B4-BE49-F238E27FC236}">
                <a16:creationId xmlns:a16="http://schemas.microsoft.com/office/drawing/2014/main" id="{8F882290-E868-4A91-885B-DAED82DCE5A0}"/>
              </a:ext>
            </a:extLst>
          </p:cNvPr>
          <p:cNvGrpSpPr/>
          <p:nvPr/>
        </p:nvGrpSpPr>
        <p:grpSpPr bwMode="auto">
          <a:xfrm>
            <a:off x="10823801" y="870366"/>
            <a:ext cx="1066894" cy="212366"/>
            <a:chOff x="7673883" y="285750"/>
            <a:chExt cx="1066892" cy="212366"/>
          </a:xfrm>
        </p:grpSpPr>
        <p:sp>
          <p:nvSpPr>
            <p:cNvPr id="106" name="StickerRectangle">
              <a:extLst>
                <a:ext uri="{FF2B5EF4-FFF2-40B4-BE49-F238E27FC236}">
                  <a16:creationId xmlns:a16="http://schemas.microsoft.com/office/drawing/2014/main" id="{21DF95E8-BCA1-452F-B6FA-A9498F0D2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3" y="285750"/>
              <a:ext cx="106689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7" name="AutoShape 31">
              <a:extLst>
                <a:ext uri="{FF2B5EF4-FFF2-40B4-BE49-F238E27FC236}">
                  <a16:creationId xmlns:a16="http://schemas.microsoft.com/office/drawing/2014/main" id="{488DF150-9E09-49E6-A3E0-CCE18CC6251B}"/>
                </a:ext>
              </a:extLst>
            </p:cNvPr>
            <p:cNvCxnSpPr>
              <a:cxnSpLocks noChangeShapeType="1"/>
              <a:stCxn id="106" idx="2"/>
              <a:endCxn id="106" idx="4"/>
            </p:cNvCxnSpPr>
            <p:nvPr/>
          </p:nvCxnSpPr>
          <p:spPr bwMode="auto">
            <a:xfrm>
              <a:off x="767388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" name="AutoShape 32">
              <a:extLst>
                <a:ext uri="{FF2B5EF4-FFF2-40B4-BE49-F238E27FC236}">
                  <a16:creationId xmlns:a16="http://schemas.microsoft.com/office/drawing/2014/main" id="{2E56A304-898A-4942-8D9E-661C9F3E40CB}"/>
                </a:ext>
              </a:extLst>
            </p:cNvPr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7673883" y="498116"/>
              <a:ext cx="106689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7" name="Oval" hidden="1">
            <a:extLst>
              <a:ext uri="{FF2B5EF4-FFF2-40B4-BE49-F238E27FC236}">
                <a16:creationId xmlns:a16="http://schemas.microsoft.com/office/drawing/2014/main" id="{730EC2E7-A329-4727-A700-FAD405D2D9D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16000" y="1028700"/>
            <a:ext cx="1524000" cy="1524000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3811" tIns="0" rIns="381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8" name="Rectangle" hidden="1">
            <a:extLst>
              <a:ext uri="{FF2B5EF4-FFF2-40B4-BE49-F238E27FC236}">
                <a16:creationId xmlns:a16="http://schemas.microsoft.com/office/drawing/2014/main" id="{BBBE5B31-0D96-437C-A8F5-AB52F2D4AC8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16000" y="2679700"/>
            <a:ext cx="1524000" cy="1524000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9" name="RoundedRectangle" hidden="1">
            <a:extLst>
              <a:ext uri="{FF2B5EF4-FFF2-40B4-BE49-F238E27FC236}">
                <a16:creationId xmlns:a16="http://schemas.microsoft.com/office/drawing/2014/main" id="{44B1D8CF-C0DD-4FCB-A289-7327F75ECE8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16000" y="4318000"/>
            <a:ext cx="1524000" cy="1524000"/>
          </a:xfrm>
          <a:prstGeom prst="round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0" name="Arrow" hidden="1">
            <a:extLst>
              <a:ext uri="{FF2B5EF4-FFF2-40B4-BE49-F238E27FC236}">
                <a16:creationId xmlns:a16="http://schemas.microsoft.com/office/drawing/2014/main" id="{671EAAE9-42A2-4BAE-8959-F2471333FFF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2971800" y="1016000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1" name="DirArrow" hidden="1">
            <a:extLst>
              <a:ext uri="{FF2B5EF4-FFF2-40B4-BE49-F238E27FC236}">
                <a16:creationId xmlns:a16="http://schemas.microsoft.com/office/drawing/2014/main" id="{6544EC72-FD71-4EDE-97FB-842334A95EE9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 rot="5400000">
            <a:off x="2971801" y="2057402"/>
            <a:ext cx="3086100" cy="342900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62" name="Flow" hidden="1">
            <a:extLst>
              <a:ext uri="{FF2B5EF4-FFF2-40B4-BE49-F238E27FC236}">
                <a16:creationId xmlns:a16="http://schemas.microsoft.com/office/drawing/2014/main" id="{84E44CE5-D949-4AE3-AE79-58E9B769F62B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2971800" y="2527300"/>
            <a:ext cx="1828800" cy="914400"/>
            <a:chOff x="5905500" y="3124200"/>
            <a:chExt cx="1828800" cy="914400"/>
          </a:xfrm>
          <a:solidFill>
            <a:schemeClr val="accent5"/>
          </a:solidFill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7C5F621-F890-4920-944A-1668A715D4D4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0405C4D-CABE-4854-8928-03E8B9594039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>
            <a:extLst>
              <a:ext uri="{FF2B5EF4-FFF2-40B4-BE49-F238E27FC236}">
                <a16:creationId xmlns:a16="http://schemas.microsoft.com/office/drawing/2014/main" id="{A5FC9B08-EB51-4F21-849C-8C289B5CEC03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2971800" y="3568700"/>
            <a:ext cx="1828800" cy="914400"/>
            <a:chOff x="114300" y="1270000"/>
            <a:chExt cx="1828800" cy="914400"/>
          </a:xfrm>
          <a:solidFill>
            <a:schemeClr val="accent5"/>
          </a:solidFill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099BD63-EA7B-4DE4-A45B-8B9BB2B34342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49AFFC2-4A74-4E9D-B749-2DB696AAEF23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FF5189FB-EF81-4AB3-A655-8253216A2A42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A59EE47-E579-4B1A-BB76-0EE018CBF3A7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4" name="SingleChevron" hidden="1">
            <a:extLst>
              <a:ext uri="{FF2B5EF4-FFF2-40B4-BE49-F238E27FC236}">
                <a16:creationId xmlns:a16="http://schemas.microsoft.com/office/drawing/2014/main" id="{3DB11C49-AFB5-4D0E-94C5-EB6669AAA6F6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2971800" y="4610100"/>
            <a:ext cx="666751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15" name="DoubleChevron" hidden="1">
            <a:extLst>
              <a:ext uri="{FF2B5EF4-FFF2-40B4-BE49-F238E27FC236}">
                <a16:creationId xmlns:a16="http://schemas.microsoft.com/office/drawing/2014/main" id="{602E7374-C87E-4BEA-B55D-2E73B850B0D4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6184902" y="1016000"/>
            <a:ext cx="1014329" cy="1524000"/>
            <a:chOff x="1270000" y="1270000"/>
            <a:chExt cx="2409032" cy="3619500"/>
          </a:xfrm>
          <a:solidFill>
            <a:schemeClr val="accent5"/>
          </a:solidFill>
        </p:grpSpPr>
        <p:sp>
          <p:nvSpPr>
            <p:cNvPr id="116" name="Chevron1">
              <a:extLst>
                <a:ext uri="{FF2B5EF4-FFF2-40B4-BE49-F238E27FC236}">
                  <a16:creationId xmlns:a16="http://schemas.microsoft.com/office/drawing/2014/main" id="{71B6B43B-9F4F-49AD-97B1-1E417DE7B7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7" name="Chevron2">
              <a:extLst>
                <a:ext uri="{FF2B5EF4-FFF2-40B4-BE49-F238E27FC236}">
                  <a16:creationId xmlns:a16="http://schemas.microsoft.com/office/drawing/2014/main" id="{198458B0-A814-4D74-9DF9-A36F222FBC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18" name="DoubleChevron2" hidden="1">
            <a:extLst>
              <a:ext uri="{FF2B5EF4-FFF2-40B4-BE49-F238E27FC236}">
                <a16:creationId xmlns:a16="http://schemas.microsoft.com/office/drawing/2014/main" id="{A248491B-E152-4369-865C-9E91BCFFE2FF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6184902" y="2667000"/>
            <a:ext cx="1242929" cy="1524000"/>
            <a:chOff x="1270000" y="1270000"/>
            <a:chExt cx="2951957" cy="3619500"/>
          </a:xfrm>
          <a:solidFill>
            <a:schemeClr val="accent5"/>
          </a:solidFill>
        </p:grpSpPr>
        <p:sp>
          <p:nvSpPr>
            <p:cNvPr id="119" name="Chevron1">
              <a:extLst>
                <a:ext uri="{FF2B5EF4-FFF2-40B4-BE49-F238E27FC236}">
                  <a16:creationId xmlns:a16="http://schemas.microsoft.com/office/drawing/2014/main" id="{BFCAE6D4-B836-456B-9855-2107BC25C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0" name="Chevron2">
              <a:extLst>
                <a:ext uri="{FF2B5EF4-FFF2-40B4-BE49-F238E27FC236}">
                  <a16:creationId xmlns:a16="http://schemas.microsoft.com/office/drawing/2014/main" id="{8C8C2EE1-58FC-4788-8A9D-CCB127AC57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6386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hf hdr="0" ftr="0" dt="0"/>
  <p:txStyles>
    <p:titleStyle>
      <a:lvl1pPr algn="l" defTabSz="895328" rtl="0" eaLnBrk="1" fontAlgn="base" hangingPunct="1">
        <a:spcBef>
          <a:spcPct val="0"/>
        </a:spcBef>
        <a:spcAft>
          <a:spcPct val="0"/>
        </a:spcAft>
        <a:tabLst>
          <a:tab pos="269868" algn="l"/>
        </a:tabLst>
        <a:defRPr lang="x-none" sz="2000" b="0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189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377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566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754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3670" indent="-192083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7189" indent="-261932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4347" indent="-1555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62437" y="664171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B05C748-DA5F-42F0-9DB5-E3C0616E6184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161985" y="811531"/>
            <a:ext cx="11728704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extLst>
              <a:ext uri="{FF2B5EF4-FFF2-40B4-BE49-F238E27FC236}">
                <a16:creationId xmlns:a16="http://schemas.microsoft.com/office/drawing/2014/main" id="{69460FCC-3727-4054-8687-E1B9A63364CE}"/>
              </a:ext>
            </a:extLst>
          </p:cNvPr>
          <p:cNvPicPr>
            <a:picLocks noChangeAspect="1"/>
          </p:cNvPicPr>
          <p:nvPr userDrawn="1"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637894" y="255397"/>
            <a:ext cx="1249577" cy="262107"/>
          </a:xfrm>
          <a:prstGeom prst="rect">
            <a:avLst/>
          </a:prstGeom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5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28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68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8" y="952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822858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86" y="6436011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86" y="6641719"/>
            <a:ext cx="112189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7512" indent="-517512" defTabSz="895328">
              <a:tabLst>
                <a:tab pos="612759" algn="l"/>
              </a:tabLst>
            </a:pPr>
            <a:r>
              <a:rPr lang="x-none" sz="800" baseline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  <a:endParaRPr lang="en-US" sz="80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976207" y="2554412"/>
            <a:ext cx="5803392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08" y="1919457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8" name="LegendBoxes" hidden="1">
            <a:extLst>
              <a:ext uri="{FF2B5EF4-FFF2-40B4-BE49-F238E27FC236}">
                <a16:creationId xmlns:a16="http://schemas.microsoft.com/office/drawing/2014/main" id="{E76F8D10-D107-4FB1-AC13-52385EFC227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127104" y="870366"/>
            <a:ext cx="763588" cy="996950"/>
            <a:chOff x="4936" y="176"/>
            <a:chExt cx="481" cy="628"/>
          </a:xfrm>
        </p:grpSpPr>
        <p:sp>
          <p:nvSpPr>
            <p:cNvPr id="69" name="Legend1">
              <a:extLst>
                <a:ext uri="{FF2B5EF4-FFF2-40B4-BE49-F238E27FC236}">
                  <a16:creationId xmlns:a16="http://schemas.microsoft.com/office/drawing/2014/main" id="{162C3CFA-59FF-493D-A8BE-D89306920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Rectangle1">
              <a:extLst>
                <a:ext uri="{FF2B5EF4-FFF2-40B4-BE49-F238E27FC236}">
                  <a16:creationId xmlns:a16="http://schemas.microsoft.com/office/drawing/2014/main" id="{26E1EB86-A200-46B4-ABEC-31F08D95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1" name="Legend2">
              <a:extLst>
                <a:ext uri="{FF2B5EF4-FFF2-40B4-BE49-F238E27FC236}">
                  <a16:creationId xmlns:a16="http://schemas.microsoft.com/office/drawing/2014/main" id="{FA9D368D-4210-4848-A19C-1C0AB660C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Rectangle2">
              <a:extLst>
                <a:ext uri="{FF2B5EF4-FFF2-40B4-BE49-F238E27FC236}">
                  <a16:creationId xmlns:a16="http://schemas.microsoft.com/office/drawing/2014/main" id="{9FAFCB70-825C-4B59-A437-59699D9D7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3" name="Legend3">
              <a:extLst>
                <a:ext uri="{FF2B5EF4-FFF2-40B4-BE49-F238E27FC236}">
                  <a16:creationId xmlns:a16="http://schemas.microsoft.com/office/drawing/2014/main" id="{9F4771F2-D777-4D16-8900-468C9774C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Rectangle3">
              <a:extLst>
                <a:ext uri="{FF2B5EF4-FFF2-40B4-BE49-F238E27FC236}">
                  <a16:creationId xmlns:a16="http://schemas.microsoft.com/office/drawing/2014/main" id="{10831D34-36FB-4ADD-81EF-37FEA2D03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5" name="Legend4">
              <a:extLst>
                <a:ext uri="{FF2B5EF4-FFF2-40B4-BE49-F238E27FC236}">
                  <a16:creationId xmlns:a16="http://schemas.microsoft.com/office/drawing/2014/main" id="{48946ED7-A481-4683-B695-8FE9B5090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Rectangle4">
              <a:extLst>
                <a:ext uri="{FF2B5EF4-FFF2-40B4-BE49-F238E27FC236}">
                  <a16:creationId xmlns:a16="http://schemas.microsoft.com/office/drawing/2014/main" id="{2BB6F4CF-D130-464A-BD40-B5E184DDA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</p:grpSp>
      <p:grpSp>
        <p:nvGrpSpPr>
          <p:cNvPr id="77" name="LegendLines" hidden="1">
            <a:extLst>
              <a:ext uri="{FF2B5EF4-FFF2-40B4-BE49-F238E27FC236}">
                <a16:creationId xmlns:a16="http://schemas.microsoft.com/office/drawing/2014/main" id="{F90F58A0-1FB9-485D-8EF2-3C683423B9A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819123" y="870364"/>
            <a:ext cx="1071564" cy="730250"/>
            <a:chOff x="4750" y="176"/>
            <a:chExt cx="675" cy="460"/>
          </a:xfrm>
        </p:grpSpPr>
        <p:sp>
          <p:nvSpPr>
            <p:cNvPr id="78" name="LineLegend1">
              <a:extLst>
                <a:ext uri="{FF2B5EF4-FFF2-40B4-BE49-F238E27FC236}">
                  <a16:creationId xmlns:a16="http://schemas.microsoft.com/office/drawing/2014/main" id="{C19FE2ED-9E68-4C9F-927B-45C3AB0C80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9" name="LineLegend2">
              <a:extLst>
                <a:ext uri="{FF2B5EF4-FFF2-40B4-BE49-F238E27FC236}">
                  <a16:creationId xmlns:a16="http://schemas.microsoft.com/office/drawing/2014/main" id="{6B784133-7AC3-483F-9068-91F96009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0" name="LineLegend3">
              <a:extLst>
                <a:ext uri="{FF2B5EF4-FFF2-40B4-BE49-F238E27FC236}">
                  <a16:creationId xmlns:a16="http://schemas.microsoft.com/office/drawing/2014/main" id="{44DA4A33-7C40-48E6-AF45-686D6D482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1" name="Legend1">
              <a:extLst>
                <a:ext uri="{FF2B5EF4-FFF2-40B4-BE49-F238E27FC236}">
                  <a16:creationId xmlns:a16="http://schemas.microsoft.com/office/drawing/2014/main" id="{77856850-F8AA-4C40-8D41-6728D3C41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2">
              <a:extLst>
                <a:ext uri="{FF2B5EF4-FFF2-40B4-BE49-F238E27FC236}">
                  <a16:creationId xmlns:a16="http://schemas.microsoft.com/office/drawing/2014/main" id="{74C3C619-4192-4C1C-B043-BF4965B87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3">
              <a:extLst>
                <a:ext uri="{FF2B5EF4-FFF2-40B4-BE49-F238E27FC236}">
                  <a16:creationId xmlns:a16="http://schemas.microsoft.com/office/drawing/2014/main" id="{B99403C6-D82E-4006-9CE4-7277F0B1B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4" name="LegendMoons" hidden="1">
            <a:extLst>
              <a:ext uri="{FF2B5EF4-FFF2-40B4-BE49-F238E27FC236}">
                <a16:creationId xmlns:a16="http://schemas.microsoft.com/office/drawing/2014/main" id="{698A4C16-8A69-4D85-88D7-172B5CDDE66E}"/>
              </a:ext>
            </a:extLst>
          </p:cNvPr>
          <p:cNvGrpSpPr/>
          <p:nvPr userDrawn="1"/>
        </p:nvGrpSpPr>
        <p:grpSpPr>
          <a:xfrm>
            <a:off x="11060259" y="870365"/>
            <a:ext cx="830430" cy="1306517"/>
            <a:chOff x="7875175" y="286625"/>
            <a:chExt cx="830430" cy="1306516"/>
          </a:xfrm>
        </p:grpSpPr>
        <p:grpSp>
          <p:nvGrpSpPr>
            <p:cNvPr id="85" name="MoonLegend2">
              <a:extLst>
                <a:ext uri="{FF2B5EF4-FFF2-40B4-BE49-F238E27FC236}">
                  <a16:creationId xmlns:a16="http://schemas.microsoft.com/office/drawing/2014/main" id="{6A5C577B-4D1C-46A4-83D4-C5450E141A6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3" name="Oval 41">
                <a:extLst>
                  <a:ext uri="{FF2B5EF4-FFF2-40B4-BE49-F238E27FC236}">
                    <a16:creationId xmlns:a16="http://schemas.microsoft.com/office/drawing/2014/main" id="{109288E3-EFB2-4746-A9A5-4C1ECC6AAB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4" name="Arc 42">
                <a:extLst>
                  <a:ext uri="{FF2B5EF4-FFF2-40B4-BE49-F238E27FC236}">
                    <a16:creationId xmlns:a16="http://schemas.microsoft.com/office/drawing/2014/main" id="{1B254806-DD5B-485E-809A-0224C40789D3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86" name="MoonLegend4">
              <a:extLst>
                <a:ext uri="{FF2B5EF4-FFF2-40B4-BE49-F238E27FC236}">
                  <a16:creationId xmlns:a16="http://schemas.microsoft.com/office/drawing/2014/main" id="{4C4C6692-D6F4-455F-A936-97F621EBFD0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9882C75B-DC76-4AE9-8426-72A8EE99BC9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2770A732-F2FC-4801-8FAB-3E314736FA4B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87" name="MoonLegend5">
              <a:extLst>
                <a:ext uri="{FF2B5EF4-FFF2-40B4-BE49-F238E27FC236}">
                  <a16:creationId xmlns:a16="http://schemas.microsoft.com/office/drawing/2014/main" id="{C9341C43-AB67-4080-9527-052DE08A9D3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9" name="Oval 50">
                <a:extLst>
                  <a:ext uri="{FF2B5EF4-FFF2-40B4-BE49-F238E27FC236}">
                    <a16:creationId xmlns:a16="http://schemas.microsoft.com/office/drawing/2014/main" id="{66EB8F2A-3DDD-4008-8F46-6E71ABF995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0" name="Oval 51">
                <a:extLst>
                  <a:ext uri="{FF2B5EF4-FFF2-40B4-BE49-F238E27FC236}">
                    <a16:creationId xmlns:a16="http://schemas.microsoft.com/office/drawing/2014/main" id="{8D472D2B-355F-49CA-B54D-B214E0E17B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sp>
          <p:nvSpPr>
            <p:cNvPr id="88" name="Legend1">
              <a:extLst>
                <a:ext uri="{FF2B5EF4-FFF2-40B4-BE49-F238E27FC236}">
                  <a16:creationId xmlns:a16="http://schemas.microsoft.com/office/drawing/2014/main" id="{2814EF13-45C9-47A4-ACED-F14FD62D1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9" name="Legend2">
              <a:extLst>
                <a:ext uri="{FF2B5EF4-FFF2-40B4-BE49-F238E27FC236}">
                  <a16:creationId xmlns:a16="http://schemas.microsoft.com/office/drawing/2014/main" id="{39D81050-CDC3-4C5E-9B9B-4FF0BD989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4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0" name="Legend3">
              <a:extLst>
                <a:ext uri="{FF2B5EF4-FFF2-40B4-BE49-F238E27FC236}">
                  <a16:creationId xmlns:a16="http://schemas.microsoft.com/office/drawing/2014/main" id="{90832D27-D594-4271-AD2E-B54EBE6DF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1" name="Legend4">
              <a:extLst>
                <a:ext uri="{FF2B5EF4-FFF2-40B4-BE49-F238E27FC236}">
                  <a16:creationId xmlns:a16="http://schemas.microsoft.com/office/drawing/2014/main" id="{DCE5D33C-2F94-420E-B721-FE50F8C58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2" name="Legend5">
              <a:extLst>
                <a:ext uri="{FF2B5EF4-FFF2-40B4-BE49-F238E27FC236}">
                  <a16:creationId xmlns:a16="http://schemas.microsoft.com/office/drawing/2014/main" id="{61FAA15B-97DB-4F5D-8C43-BE8BB522B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93" name="MoonLegend3">
              <a:extLst>
                <a:ext uri="{FF2B5EF4-FFF2-40B4-BE49-F238E27FC236}">
                  <a16:creationId xmlns:a16="http://schemas.microsoft.com/office/drawing/2014/main" id="{7B62688A-16E2-4BBB-9892-B354469AEA3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43033034-DCFA-4FED-B4B6-E6D750BA438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3B78AD85-3A13-43AD-B3A6-27AB71604922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4" name="MoonLegend1">
              <a:extLst>
                <a:ext uri="{FF2B5EF4-FFF2-40B4-BE49-F238E27FC236}">
                  <a16:creationId xmlns:a16="http://schemas.microsoft.com/office/drawing/2014/main" id="{2AA9F67B-F322-464A-B204-D259481BC92E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5" name="Oval 41">
                <a:extLst>
                  <a:ext uri="{FF2B5EF4-FFF2-40B4-BE49-F238E27FC236}">
                    <a16:creationId xmlns:a16="http://schemas.microsoft.com/office/drawing/2014/main" id="{9A3B2275-7475-4D34-A4A9-773691959C5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96" name="Arc 42">
                <a:extLst>
                  <a:ext uri="{FF2B5EF4-FFF2-40B4-BE49-F238E27FC236}">
                    <a16:creationId xmlns:a16="http://schemas.microsoft.com/office/drawing/2014/main" id="{D6CF7435-884E-4EBB-816E-110AED3E079A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grpSp>
        <p:nvGrpSpPr>
          <p:cNvPr id="105" name="Sticker" hidden="1">
            <a:extLst>
              <a:ext uri="{FF2B5EF4-FFF2-40B4-BE49-F238E27FC236}">
                <a16:creationId xmlns:a16="http://schemas.microsoft.com/office/drawing/2014/main" id="{8F882290-E868-4A91-885B-DAED82DCE5A0}"/>
              </a:ext>
            </a:extLst>
          </p:cNvPr>
          <p:cNvGrpSpPr/>
          <p:nvPr userDrawn="1"/>
        </p:nvGrpSpPr>
        <p:grpSpPr bwMode="auto">
          <a:xfrm>
            <a:off x="10823795" y="870364"/>
            <a:ext cx="1066895" cy="212367"/>
            <a:chOff x="7673880" y="285750"/>
            <a:chExt cx="1066895" cy="212366"/>
          </a:xfrm>
        </p:grpSpPr>
        <p:sp>
          <p:nvSpPr>
            <p:cNvPr id="106" name="StickerRectangle">
              <a:extLst>
                <a:ext uri="{FF2B5EF4-FFF2-40B4-BE49-F238E27FC236}">
                  <a16:creationId xmlns:a16="http://schemas.microsoft.com/office/drawing/2014/main" id="{21DF95E8-BCA1-452F-B6FA-A9498F0D2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7" name="AutoShape 31">
              <a:extLst>
                <a:ext uri="{FF2B5EF4-FFF2-40B4-BE49-F238E27FC236}">
                  <a16:creationId xmlns:a16="http://schemas.microsoft.com/office/drawing/2014/main" id="{488DF150-9E09-49E6-A3E0-CCE18CC6251B}"/>
                </a:ext>
              </a:extLst>
            </p:cNvPr>
            <p:cNvCxnSpPr>
              <a:cxnSpLocks noChangeShapeType="1"/>
              <a:stCxn id="106" idx="2"/>
              <a:endCxn id="10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" name="AutoShape 32">
              <a:extLst>
                <a:ext uri="{FF2B5EF4-FFF2-40B4-BE49-F238E27FC236}">
                  <a16:creationId xmlns:a16="http://schemas.microsoft.com/office/drawing/2014/main" id="{2E56A304-898A-4942-8D9E-661C9F3E40CB}"/>
                </a:ext>
              </a:extLst>
            </p:cNvPr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7" name="Oval" hidden="1">
            <a:extLst>
              <a:ext uri="{FF2B5EF4-FFF2-40B4-BE49-F238E27FC236}">
                <a16:creationId xmlns:a16="http://schemas.microsoft.com/office/drawing/2014/main" id="{730EC2E7-A329-4727-A700-FAD405D2D9D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016000" y="1028700"/>
            <a:ext cx="1524000" cy="1524000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3811" tIns="0" rIns="381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8" name="Rectangle" hidden="1">
            <a:extLst>
              <a:ext uri="{FF2B5EF4-FFF2-40B4-BE49-F238E27FC236}">
                <a16:creationId xmlns:a16="http://schemas.microsoft.com/office/drawing/2014/main" id="{BBBE5B31-0D96-437C-A8F5-AB52F2D4AC8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016000" y="2679700"/>
            <a:ext cx="1524000" cy="1524000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9" name="RoundedRectangle" hidden="1">
            <a:extLst>
              <a:ext uri="{FF2B5EF4-FFF2-40B4-BE49-F238E27FC236}">
                <a16:creationId xmlns:a16="http://schemas.microsoft.com/office/drawing/2014/main" id="{44B1D8CF-C0DD-4FCB-A289-7327F75ECE8F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016000" y="4318000"/>
            <a:ext cx="1524000" cy="1524000"/>
          </a:xfrm>
          <a:prstGeom prst="round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0" name="Arrow" hidden="1">
            <a:extLst>
              <a:ext uri="{FF2B5EF4-FFF2-40B4-BE49-F238E27FC236}">
                <a16:creationId xmlns:a16="http://schemas.microsoft.com/office/drawing/2014/main" id="{671EAAE9-42A2-4BAE-8959-F2471333FFF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2971800" y="1016000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1" name="DirArrow" hidden="1">
            <a:extLst>
              <a:ext uri="{FF2B5EF4-FFF2-40B4-BE49-F238E27FC236}">
                <a16:creationId xmlns:a16="http://schemas.microsoft.com/office/drawing/2014/main" id="{6544EC72-FD71-4EDE-97FB-842334A95EE9}"/>
              </a:ext>
            </a:extLst>
          </p:cNvPr>
          <p:cNvSpPr>
            <a:spLocks noChangeAspect="1"/>
          </p:cNvSpPr>
          <p:nvPr userDrawn="1">
            <p:custDataLst>
              <p:tags r:id="rId16"/>
            </p:custDataLst>
          </p:nvPr>
        </p:nvSpPr>
        <p:spPr>
          <a:xfrm rot="5400000">
            <a:off x="2971801" y="2057401"/>
            <a:ext cx="3086100" cy="342900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62" name="Flow" hidden="1">
            <a:extLst>
              <a:ext uri="{FF2B5EF4-FFF2-40B4-BE49-F238E27FC236}">
                <a16:creationId xmlns:a16="http://schemas.microsoft.com/office/drawing/2014/main" id="{84E44CE5-D949-4AE3-AE79-58E9B769F62B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2971800" y="2527300"/>
            <a:ext cx="1828800" cy="914400"/>
            <a:chOff x="5905500" y="3124200"/>
            <a:chExt cx="1828800" cy="914400"/>
          </a:xfrm>
          <a:solidFill>
            <a:schemeClr val="accent5"/>
          </a:solidFill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7C5F621-F890-4920-944A-1668A715D4D4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0405C4D-CABE-4854-8928-03E8B95940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>
            <a:extLst>
              <a:ext uri="{FF2B5EF4-FFF2-40B4-BE49-F238E27FC236}">
                <a16:creationId xmlns:a16="http://schemas.microsoft.com/office/drawing/2014/main" id="{A5FC9B08-EB51-4F21-849C-8C289B5CEC03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2971800" y="3568700"/>
            <a:ext cx="1828800" cy="914400"/>
            <a:chOff x="114300" y="1270000"/>
            <a:chExt cx="1828800" cy="914400"/>
          </a:xfrm>
          <a:solidFill>
            <a:schemeClr val="accent5"/>
          </a:solidFill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099BD63-EA7B-4DE4-A45B-8B9BB2B34342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49AFFC2-4A74-4E9D-B749-2DB696AAEF23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FF5189FB-EF81-4AB3-A655-8253216A2A4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A59EE47-E579-4B1A-BB76-0EE018CBF3A7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4" name="SingleChevron" hidden="1">
            <a:extLst>
              <a:ext uri="{FF2B5EF4-FFF2-40B4-BE49-F238E27FC236}">
                <a16:creationId xmlns:a16="http://schemas.microsoft.com/office/drawing/2014/main" id="{3DB11C49-AFB5-4D0E-94C5-EB6669AAA6F6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2971800" y="4610100"/>
            <a:ext cx="666751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15" name="DoubleChevron" hidden="1">
            <a:extLst>
              <a:ext uri="{FF2B5EF4-FFF2-40B4-BE49-F238E27FC236}">
                <a16:creationId xmlns:a16="http://schemas.microsoft.com/office/drawing/2014/main" id="{602E7374-C87E-4BEA-B55D-2E73B850B0D4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6184901" y="1016000"/>
            <a:ext cx="1014329" cy="1524000"/>
            <a:chOff x="1270000" y="1270000"/>
            <a:chExt cx="2409032" cy="3619500"/>
          </a:xfrm>
          <a:solidFill>
            <a:schemeClr val="accent5"/>
          </a:solidFill>
        </p:grpSpPr>
        <p:sp>
          <p:nvSpPr>
            <p:cNvPr id="116" name="Chevron1">
              <a:extLst>
                <a:ext uri="{FF2B5EF4-FFF2-40B4-BE49-F238E27FC236}">
                  <a16:creationId xmlns:a16="http://schemas.microsoft.com/office/drawing/2014/main" id="{71B6B43B-9F4F-49AD-97B1-1E417DE7B7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17" name="Chevron2">
              <a:extLst>
                <a:ext uri="{FF2B5EF4-FFF2-40B4-BE49-F238E27FC236}">
                  <a16:creationId xmlns:a16="http://schemas.microsoft.com/office/drawing/2014/main" id="{198458B0-A814-4D74-9DF9-A36F222FBC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18" name="DoubleChevron2" hidden="1">
            <a:extLst>
              <a:ext uri="{FF2B5EF4-FFF2-40B4-BE49-F238E27FC236}">
                <a16:creationId xmlns:a16="http://schemas.microsoft.com/office/drawing/2014/main" id="{A248491B-E152-4369-865C-9E91BCFFE2FF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6184901" y="2667000"/>
            <a:ext cx="1242929" cy="1524000"/>
            <a:chOff x="1270000" y="1270000"/>
            <a:chExt cx="2951957" cy="3619500"/>
          </a:xfrm>
          <a:solidFill>
            <a:schemeClr val="accent5"/>
          </a:solidFill>
        </p:grpSpPr>
        <p:sp>
          <p:nvSpPr>
            <p:cNvPr id="119" name="Chevron1">
              <a:extLst>
                <a:ext uri="{FF2B5EF4-FFF2-40B4-BE49-F238E27FC236}">
                  <a16:creationId xmlns:a16="http://schemas.microsoft.com/office/drawing/2014/main" id="{BFCAE6D4-B836-456B-9855-2107BC25C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20" name="Chevron2">
              <a:extLst>
                <a:ext uri="{FF2B5EF4-FFF2-40B4-BE49-F238E27FC236}">
                  <a16:creationId xmlns:a16="http://schemas.microsoft.com/office/drawing/2014/main" id="{8C8C2EE1-58FC-4788-8A9D-CCB127AC57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9213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91" r:id="rId8"/>
  </p:sldLayoutIdLst>
  <p:hf hdr="0" ftr="0" dt="0"/>
  <p:txStyles>
    <p:titleStyle>
      <a:lvl1pPr algn="l" defTabSz="895328" rtl="0" eaLnBrk="1" fontAlgn="base" hangingPunct="1">
        <a:spcBef>
          <a:spcPct val="0"/>
        </a:spcBef>
        <a:spcAft>
          <a:spcPct val="0"/>
        </a:spcAft>
        <a:tabLst>
          <a:tab pos="269868" algn="l"/>
        </a:tabLst>
        <a:defRPr lang="x-none" sz="2000" b="0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189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377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566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754" algn="l" defTabSz="89532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3670" indent="-192083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7189" indent="-261932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4347" indent="-1555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89" indent="-130171" algn="l" defTabSz="8953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62436" y="664171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B05C748-DA5F-42F0-9DB5-E3C0616E6184}"/>
              </a:ext>
            </a:extLst>
          </p:cNvPr>
          <p:cNvCxnSpPr>
            <a:cxnSpLocks/>
          </p:cNvCxnSpPr>
          <p:nvPr/>
        </p:nvCxnSpPr>
        <p:spPr bwMode="ltGray">
          <a:xfrm flipH="1">
            <a:off x="161985" y="811530"/>
            <a:ext cx="11728704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extLst>
              <a:ext uri="{FF2B5EF4-FFF2-40B4-BE49-F238E27FC236}">
                <a16:creationId xmlns:a16="http://schemas.microsoft.com/office/drawing/2014/main" id="{69460FCC-3727-4054-8687-E1B9A63364CE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37893" y="255397"/>
            <a:ext cx="1249577" cy="262106"/>
          </a:xfrm>
          <a:prstGeom prst="rect">
            <a:avLst/>
          </a:prstGeom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1876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895350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9875" algn="l"/>
              </a:tabLst>
            </a:pPr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6" y="952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6" y="822858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85" y="6436009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85" y="6641717"/>
            <a:ext cx="112189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7525" indent="-517525" defTabSz="895350">
              <a:tabLst>
                <a:tab pos="612775" algn="l"/>
              </a:tabLst>
            </a:pPr>
            <a:r>
              <a:rPr lang="x-none" sz="800" baseline="0" dirty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  <a:endParaRPr lang="en-US" sz="8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7" y="2554412"/>
            <a:ext cx="5803392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919456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8" name="LegendBoxes" hidden="1">
            <a:extLst>
              <a:ext uri="{FF2B5EF4-FFF2-40B4-BE49-F238E27FC236}">
                <a16:creationId xmlns:a16="http://schemas.microsoft.com/office/drawing/2014/main" id="{E76F8D10-D107-4FB1-AC13-52385EFC2270}"/>
              </a:ext>
            </a:extLst>
          </p:cNvPr>
          <p:cNvGrpSpPr>
            <a:grpSpLocks/>
          </p:cNvGrpSpPr>
          <p:nvPr/>
        </p:nvGrpSpPr>
        <p:grpSpPr bwMode="auto">
          <a:xfrm>
            <a:off x="11127101" y="870364"/>
            <a:ext cx="763588" cy="996951"/>
            <a:chOff x="4936" y="176"/>
            <a:chExt cx="481" cy="628"/>
          </a:xfrm>
        </p:grpSpPr>
        <p:sp>
          <p:nvSpPr>
            <p:cNvPr id="69" name="Legend1">
              <a:extLst>
                <a:ext uri="{FF2B5EF4-FFF2-40B4-BE49-F238E27FC236}">
                  <a16:creationId xmlns:a16="http://schemas.microsoft.com/office/drawing/2014/main" id="{162C3CFA-59FF-493D-A8BE-D89306920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Rectangle1">
              <a:extLst>
                <a:ext uri="{FF2B5EF4-FFF2-40B4-BE49-F238E27FC236}">
                  <a16:creationId xmlns:a16="http://schemas.microsoft.com/office/drawing/2014/main" id="{26E1EB86-A200-46B4-ABEC-31F08D95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1" name="Legend2">
              <a:extLst>
                <a:ext uri="{FF2B5EF4-FFF2-40B4-BE49-F238E27FC236}">
                  <a16:creationId xmlns:a16="http://schemas.microsoft.com/office/drawing/2014/main" id="{FA9D368D-4210-4848-A19C-1C0AB660C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Rectangle2">
              <a:extLst>
                <a:ext uri="{FF2B5EF4-FFF2-40B4-BE49-F238E27FC236}">
                  <a16:creationId xmlns:a16="http://schemas.microsoft.com/office/drawing/2014/main" id="{9FAFCB70-825C-4B59-A437-59699D9D7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3" name="Legend3">
              <a:extLst>
                <a:ext uri="{FF2B5EF4-FFF2-40B4-BE49-F238E27FC236}">
                  <a16:creationId xmlns:a16="http://schemas.microsoft.com/office/drawing/2014/main" id="{9F4771F2-D777-4D16-8900-468C9774C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Rectangle3">
              <a:extLst>
                <a:ext uri="{FF2B5EF4-FFF2-40B4-BE49-F238E27FC236}">
                  <a16:creationId xmlns:a16="http://schemas.microsoft.com/office/drawing/2014/main" id="{10831D34-36FB-4ADD-81EF-37FEA2D03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egend4">
              <a:extLst>
                <a:ext uri="{FF2B5EF4-FFF2-40B4-BE49-F238E27FC236}">
                  <a16:creationId xmlns:a16="http://schemas.microsoft.com/office/drawing/2014/main" id="{48946ED7-A481-4683-B695-8FE9B5090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Rectangle4">
              <a:extLst>
                <a:ext uri="{FF2B5EF4-FFF2-40B4-BE49-F238E27FC236}">
                  <a16:creationId xmlns:a16="http://schemas.microsoft.com/office/drawing/2014/main" id="{2BB6F4CF-D130-464A-BD40-B5E184DDA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7" name="LegendLines" hidden="1">
            <a:extLst>
              <a:ext uri="{FF2B5EF4-FFF2-40B4-BE49-F238E27FC236}">
                <a16:creationId xmlns:a16="http://schemas.microsoft.com/office/drawing/2014/main" id="{F90F58A0-1FB9-485D-8EF2-3C683423B9AF}"/>
              </a:ext>
            </a:extLst>
          </p:cNvPr>
          <p:cNvGrpSpPr>
            <a:grpSpLocks/>
          </p:cNvGrpSpPr>
          <p:nvPr/>
        </p:nvGrpSpPr>
        <p:grpSpPr bwMode="auto">
          <a:xfrm>
            <a:off x="10819126" y="870364"/>
            <a:ext cx="1071563" cy="730251"/>
            <a:chOff x="4750" y="176"/>
            <a:chExt cx="675" cy="460"/>
          </a:xfrm>
        </p:grpSpPr>
        <p:sp>
          <p:nvSpPr>
            <p:cNvPr id="78" name="LineLegend1">
              <a:extLst>
                <a:ext uri="{FF2B5EF4-FFF2-40B4-BE49-F238E27FC236}">
                  <a16:creationId xmlns:a16="http://schemas.microsoft.com/office/drawing/2014/main" id="{C19FE2ED-9E68-4C9F-927B-45C3AB0C80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9" name="LineLegend2">
              <a:extLst>
                <a:ext uri="{FF2B5EF4-FFF2-40B4-BE49-F238E27FC236}">
                  <a16:creationId xmlns:a16="http://schemas.microsoft.com/office/drawing/2014/main" id="{6B784133-7AC3-483F-9068-91F96009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0" name="LineLegend3">
              <a:extLst>
                <a:ext uri="{FF2B5EF4-FFF2-40B4-BE49-F238E27FC236}">
                  <a16:creationId xmlns:a16="http://schemas.microsoft.com/office/drawing/2014/main" id="{44DA4A33-7C40-48E6-AF45-686D6D482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1" name="Legend1">
              <a:extLst>
                <a:ext uri="{FF2B5EF4-FFF2-40B4-BE49-F238E27FC236}">
                  <a16:creationId xmlns:a16="http://schemas.microsoft.com/office/drawing/2014/main" id="{77856850-F8AA-4C40-8D41-6728D3C41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2">
              <a:extLst>
                <a:ext uri="{FF2B5EF4-FFF2-40B4-BE49-F238E27FC236}">
                  <a16:creationId xmlns:a16="http://schemas.microsoft.com/office/drawing/2014/main" id="{74C3C619-4192-4C1C-B043-BF4965B87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3">
              <a:extLst>
                <a:ext uri="{FF2B5EF4-FFF2-40B4-BE49-F238E27FC236}">
                  <a16:creationId xmlns:a16="http://schemas.microsoft.com/office/drawing/2014/main" id="{B99403C6-D82E-4006-9CE4-7277F0B1B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4" name="LegendMoons" hidden="1">
            <a:extLst>
              <a:ext uri="{FF2B5EF4-FFF2-40B4-BE49-F238E27FC236}">
                <a16:creationId xmlns:a16="http://schemas.microsoft.com/office/drawing/2014/main" id="{698A4C16-8A69-4D85-88D7-172B5CDDE66E}"/>
              </a:ext>
            </a:extLst>
          </p:cNvPr>
          <p:cNvGrpSpPr/>
          <p:nvPr/>
        </p:nvGrpSpPr>
        <p:grpSpPr>
          <a:xfrm>
            <a:off x="11060259" y="870364"/>
            <a:ext cx="830430" cy="1306516"/>
            <a:chOff x="7875175" y="286625"/>
            <a:chExt cx="830430" cy="1306516"/>
          </a:xfrm>
        </p:grpSpPr>
        <p:grpSp>
          <p:nvGrpSpPr>
            <p:cNvPr id="85" name="MoonLegend2">
              <a:extLst>
                <a:ext uri="{FF2B5EF4-FFF2-40B4-BE49-F238E27FC236}">
                  <a16:creationId xmlns:a16="http://schemas.microsoft.com/office/drawing/2014/main" id="{6A5C577B-4D1C-46A4-83D4-C5450E141A6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3" name="Oval 41">
                <a:extLst>
                  <a:ext uri="{FF2B5EF4-FFF2-40B4-BE49-F238E27FC236}">
                    <a16:creationId xmlns:a16="http://schemas.microsoft.com/office/drawing/2014/main" id="{109288E3-EFB2-4746-A9A5-4C1ECC6AAB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4" name="Arc 42">
                <a:extLst>
                  <a:ext uri="{FF2B5EF4-FFF2-40B4-BE49-F238E27FC236}">
                    <a16:creationId xmlns:a16="http://schemas.microsoft.com/office/drawing/2014/main" id="{1B254806-DD5B-485E-809A-0224C40789D3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6" name="MoonLegend4">
              <a:extLst>
                <a:ext uri="{FF2B5EF4-FFF2-40B4-BE49-F238E27FC236}">
                  <a16:creationId xmlns:a16="http://schemas.microsoft.com/office/drawing/2014/main" id="{4C4C6692-D6F4-455F-A936-97F621EBFD0F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9882C75B-DC76-4AE9-8426-72A8EE99BC9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2770A732-F2FC-4801-8FAB-3E314736FA4B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7" name="MoonLegend5">
              <a:extLst>
                <a:ext uri="{FF2B5EF4-FFF2-40B4-BE49-F238E27FC236}">
                  <a16:creationId xmlns:a16="http://schemas.microsoft.com/office/drawing/2014/main" id="{C9341C43-AB67-4080-9527-052DE08A9D3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9" name="Oval 50">
                <a:extLst>
                  <a:ext uri="{FF2B5EF4-FFF2-40B4-BE49-F238E27FC236}">
                    <a16:creationId xmlns:a16="http://schemas.microsoft.com/office/drawing/2014/main" id="{66EB8F2A-3DDD-4008-8F46-6E71ABF995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0" name="Oval 51">
                <a:extLst>
                  <a:ext uri="{FF2B5EF4-FFF2-40B4-BE49-F238E27FC236}">
                    <a16:creationId xmlns:a16="http://schemas.microsoft.com/office/drawing/2014/main" id="{8D472D2B-355F-49CA-B54D-B214E0E17B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8" name="Legend1">
              <a:extLst>
                <a:ext uri="{FF2B5EF4-FFF2-40B4-BE49-F238E27FC236}">
                  <a16:creationId xmlns:a16="http://schemas.microsoft.com/office/drawing/2014/main" id="{2814EF13-45C9-47A4-ACED-F14FD62D1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9" name="Legend2">
              <a:extLst>
                <a:ext uri="{FF2B5EF4-FFF2-40B4-BE49-F238E27FC236}">
                  <a16:creationId xmlns:a16="http://schemas.microsoft.com/office/drawing/2014/main" id="{39D81050-CDC3-4C5E-9B9B-4FF0BD989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0" name="Legend3">
              <a:extLst>
                <a:ext uri="{FF2B5EF4-FFF2-40B4-BE49-F238E27FC236}">
                  <a16:creationId xmlns:a16="http://schemas.microsoft.com/office/drawing/2014/main" id="{90832D27-D594-4271-AD2E-B54EBE6DF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1" name="Legend4">
              <a:extLst>
                <a:ext uri="{FF2B5EF4-FFF2-40B4-BE49-F238E27FC236}">
                  <a16:creationId xmlns:a16="http://schemas.microsoft.com/office/drawing/2014/main" id="{DCE5D33C-2F94-420E-B721-FE50F8C58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2" name="Legend5">
              <a:extLst>
                <a:ext uri="{FF2B5EF4-FFF2-40B4-BE49-F238E27FC236}">
                  <a16:creationId xmlns:a16="http://schemas.microsoft.com/office/drawing/2014/main" id="{61FAA15B-97DB-4F5D-8C43-BE8BB522B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3" name="MoonLegend3">
              <a:extLst>
                <a:ext uri="{FF2B5EF4-FFF2-40B4-BE49-F238E27FC236}">
                  <a16:creationId xmlns:a16="http://schemas.microsoft.com/office/drawing/2014/main" id="{7B62688A-16E2-4BBB-9892-B354469AEA3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43033034-DCFA-4FED-B4B6-E6D750BA438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3B78AD85-3A13-43AD-B3A6-27AB71604922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4" name="MoonLegend1">
              <a:extLst>
                <a:ext uri="{FF2B5EF4-FFF2-40B4-BE49-F238E27FC236}">
                  <a16:creationId xmlns:a16="http://schemas.microsoft.com/office/drawing/2014/main" id="{2AA9F67B-F322-464A-B204-D259481BC92E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5" name="Oval 41">
                <a:extLst>
                  <a:ext uri="{FF2B5EF4-FFF2-40B4-BE49-F238E27FC236}">
                    <a16:creationId xmlns:a16="http://schemas.microsoft.com/office/drawing/2014/main" id="{9A3B2275-7475-4D34-A4A9-773691959C5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6" name="Arc 42">
                <a:extLst>
                  <a:ext uri="{FF2B5EF4-FFF2-40B4-BE49-F238E27FC236}">
                    <a16:creationId xmlns:a16="http://schemas.microsoft.com/office/drawing/2014/main" id="{D6CF7435-884E-4EBB-816E-110AED3E079A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5" name="Sticker" hidden="1">
            <a:extLst>
              <a:ext uri="{FF2B5EF4-FFF2-40B4-BE49-F238E27FC236}">
                <a16:creationId xmlns:a16="http://schemas.microsoft.com/office/drawing/2014/main" id="{8F882290-E868-4A91-885B-DAED82DCE5A0}"/>
              </a:ext>
            </a:extLst>
          </p:cNvPr>
          <p:cNvGrpSpPr/>
          <p:nvPr/>
        </p:nvGrpSpPr>
        <p:grpSpPr bwMode="auto">
          <a:xfrm>
            <a:off x="10823794" y="870364"/>
            <a:ext cx="1066895" cy="212366"/>
            <a:chOff x="7673880" y="285750"/>
            <a:chExt cx="1066895" cy="212366"/>
          </a:xfrm>
        </p:grpSpPr>
        <p:sp>
          <p:nvSpPr>
            <p:cNvPr id="106" name="StickerRectangle">
              <a:extLst>
                <a:ext uri="{FF2B5EF4-FFF2-40B4-BE49-F238E27FC236}">
                  <a16:creationId xmlns:a16="http://schemas.microsoft.com/office/drawing/2014/main" id="{21DF95E8-BCA1-452F-B6FA-A9498F0D2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7" name="AutoShape 31">
              <a:extLst>
                <a:ext uri="{FF2B5EF4-FFF2-40B4-BE49-F238E27FC236}">
                  <a16:creationId xmlns:a16="http://schemas.microsoft.com/office/drawing/2014/main" id="{488DF150-9E09-49E6-A3E0-CCE18CC6251B}"/>
                </a:ext>
              </a:extLst>
            </p:cNvPr>
            <p:cNvCxnSpPr>
              <a:cxnSpLocks noChangeShapeType="1"/>
              <a:stCxn id="106" idx="2"/>
              <a:endCxn id="10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" name="AutoShape 32">
              <a:extLst>
                <a:ext uri="{FF2B5EF4-FFF2-40B4-BE49-F238E27FC236}">
                  <a16:creationId xmlns:a16="http://schemas.microsoft.com/office/drawing/2014/main" id="{2E56A304-898A-4942-8D9E-661C9F3E40CB}"/>
                </a:ext>
              </a:extLst>
            </p:cNvPr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7" name="Oval" hidden="1">
            <a:extLst>
              <a:ext uri="{FF2B5EF4-FFF2-40B4-BE49-F238E27FC236}">
                <a16:creationId xmlns:a16="http://schemas.microsoft.com/office/drawing/2014/main" id="{730EC2E7-A329-4727-A700-FAD405D2D9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16000" y="1028700"/>
            <a:ext cx="1524000" cy="1524000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8" name="Rectangle" hidden="1">
            <a:extLst>
              <a:ext uri="{FF2B5EF4-FFF2-40B4-BE49-F238E27FC236}">
                <a16:creationId xmlns:a16="http://schemas.microsoft.com/office/drawing/2014/main" id="{BBBE5B31-0D96-437C-A8F5-AB52F2D4AC8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16000" y="2679700"/>
            <a:ext cx="1524000" cy="1524000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9" name="RoundedRectangle" hidden="1">
            <a:extLst>
              <a:ext uri="{FF2B5EF4-FFF2-40B4-BE49-F238E27FC236}">
                <a16:creationId xmlns:a16="http://schemas.microsoft.com/office/drawing/2014/main" id="{44B1D8CF-C0DD-4FCB-A289-7327F75ECE8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16000" y="4318000"/>
            <a:ext cx="1524000" cy="1524000"/>
          </a:xfrm>
          <a:prstGeom prst="round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0" name="Arrow" hidden="1">
            <a:extLst>
              <a:ext uri="{FF2B5EF4-FFF2-40B4-BE49-F238E27FC236}">
                <a16:creationId xmlns:a16="http://schemas.microsoft.com/office/drawing/2014/main" id="{671EAAE9-42A2-4BAE-8959-F2471333FFF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971800" y="1016000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1" name="DirArrow" hidden="1">
            <a:extLst>
              <a:ext uri="{FF2B5EF4-FFF2-40B4-BE49-F238E27FC236}">
                <a16:creationId xmlns:a16="http://schemas.microsoft.com/office/drawing/2014/main" id="{6544EC72-FD71-4EDE-97FB-842334A95EE9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 rot="5400000">
            <a:off x="2971800" y="2057400"/>
            <a:ext cx="3086100" cy="342900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62" name="Flow" hidden="1">
            <a:extLst>
              <a:ext uri="{FF2B5EF4-FFF2-40B4-BE49-F238E27FC236}">
                <a16:creationId xmlns:a16="http://schemas.microsoft.com/office/drawing/2014/main" id="{84E44CE5-D949-4AE3-AE79-58E9B769F62B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2971800" y="2527300"/>
            <a:ext cx="1828800" cy="914400"/>
            <a:chOff x="5905500" y="3124200"/>
            <a:chExt cx="1828800" cy="914400"/>
          </a:xfrm>
          <a:solidFill>
            <a:schemeClr val="accent5"/>
          </a:solidFill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7C5F621-F890-4920-944A-1668A715D4D4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0405C4D-CABE-4854-8928-03E8B9594039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>
            <a:extLst>
              <a:ext uri="{FF2B5EF4-FFF2-40B4-BE49-F238E27FC236}">
                <a16:creationId xmlns:a16="http://schemas.microsoft.com/office/drawing/2014/main" id="{A5FC9B08-EB51-4F21-849C-8C289B5CEC03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2971800" y="3568700"/>
            <a:ext cx="1828800" cy="914400"/>
            <a:chOff x="114300" y="1270000"/>
            <a:chExt cx="1828800" cy="914400"/>
          </a:xfrm>
          <a:solidFill>
            <a:schemeClr val="accent5"/>
          </a:solidFill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099BD63-EA7B-4DE4-A45B-8B9BB2B3434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49AFFC2-4A74-4E9D-B749-2DB696AAEF23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FF5189FB-EF81-4AB3-A655-8253216A2A42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A59EE47-E579-4B1A-BB76-0EE018CBF3A7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4" name="SingleChevron" hidden="1">
            <a:extLst>
              <a:ext uri="{FF2B5EF4-FFF2-40B4-BE49-F238E27FC236}">
                <a16:creationId xmlns:a16="http://schemas.microsoft.com/office/drawing/2014/main" id="{3DB11C49-AFB5-4D0E-94C5-EB6669AAA6F6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2971800" y="4610100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115" name="DoubleChevron" hidden="1">
            <a:extLst>
              <a:ext uri="{FF2B5EF4-FFF2-40B4-BE49-F238E27FC236}">
                <a16:creationId xmlns:a16="http://schemas.microsoft.com/office/drawing/2014/main" id="{602E7374-C87E-4BEA-B55D-2E73B850B0D4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6184900" y="1016000"/>
            <a:ext cx="1014329" cy="1524000"/>
            <a:chOff x="1270000" y="1270000"/>
            <a:chExt cx="2409032" cy="3619500"/>
          </a:xfrm>
          <a:solidFill>
            <a:schemeClr val="accent5"/>
          </a:solidFill>
        </p:grpSpPr>
        <p:sp>
          <p:nvSpPr>
            <p:cNvPr id="116" name="Chevron1">
              <a:extLst>
                <a:ext uri="{FF2B5EF4-FFF2-40B4-BE49-F238E27FC236}">
                  <a16:creationId xmlns:a16="http://schemas.microsoft.com/office/drawing/2014/main" id="{71B6B43B-9F4F-49AD-97B1-1E417DE7B7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17" name="Chevron2">
              <a:extLst>
                <a:ext uri="{FF2B5EF4-FFF2-40B4-BE49-F238E27FC236}">
                  <a16:creationId xmlns:a16="http://schemas.microsoft.com/office/drawing/2014/main" id="{198458B0-A814-4D74-9DF9-A36F222FBC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18" name="DoubleChevron2" hidden="1">
            <a:extLst>
              <a:ext uri="{FF2B5EF4-FFF2-40B4-BE49-F238E27FC236}">
                <a16:creationId xmlns:a16="http://schemas.microsoft.com/office/drawing/2014/main" id="{A248491B-E152-4369-865C-9E91BCFFE2FF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6184900" y="2667000"/>
            <a:ext cx="1242929" cy="1524000"/>
            <a:chOff x="1270000" y="1270000"/>
            <a:chExt cx="2951957" cy="3619500"/>
          </a:xfrm>
          <a:solidFill>
            <a:schemeClr val="accent5"/>
          </a:solidFill>
        </p:grpSpPr>
        <p:sp>
          <p:nvSpPr>
            <p:cNvPr id="119" name="Chevron1">
              <a:extLst>
                <a:ext uri="{FF2B5EF4-FFF2-40B4-BE49-F238E27FC236}">
                  <a16:creationId xmlns:a16="http://schemas.microsoft.com/office/drawing/2014/main" id="{BFCAE6D4-B836-456B-9855-2107BC25C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20" name="Chevron2">
              <a:extLst>
                <a:ext uri="{FF2B5EF4-FFF2-40B4-BE49-F238E27FC236}">
                  <a16:creationId xmlns:a16="http://schemas.microsoft.com/office/drawing/2014/main" id="{8C8C2EE1-58FC-4788-8A9D-CCB127AC57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4167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9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2.png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5.png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7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7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0.pn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1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2.png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43.png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4.pn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6.png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9.png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9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0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21.emf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3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gif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youtu.be/XiigTGKZfks" TargetMode="Externa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grpSp>
          <p:nvGrpSpPr>
            <p:cNvPr id="2" name="Group 1"/>
            <p:cNvGrpSpPr/>
            <p:nvPr/>
          </p:nvGrpSpPr>
          <p:grpSpPr>
            <a:xfrm>
              <a:off x="0" y="0"/>
              <a:ext cx="9144000" cy="5143500"/>
              <a:chOff x="0" y="0"/>
              <a:chExt cx="9144000" cy="5143500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1024" b="3975"/>
              <a:stretch/>
            </p:blipFill>
            <p:spPr>
              <a:xfrm>
                <a:off x="0" y="0"/>
                <a:ext cx="9144000" cy="5143500"/>
              </a:xfrm>
              <a:prstGeom prst="rect">
                <a:avLst/>
              </a:prstGeom>
            </p:spPr>
          </p:pic>
          <p:sp>
            <p:nvSpPr>
              <p:cNvPr id="18" name="Rectangle 17"/>
              <p:cNvSpPr/>
              <p:nvPr/>
            </p:nvSpPr>
            <p:spPr>
              <a:xfrm>
                <a:off x="4632960" y="0"/>
                <a:ext cx="4511040" cy="51435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tint val="100000"/>
                      <a:shade val="100000"/>
                      <a:satMod val="130000"/>
                      <a:alpha val="39000"/>
                    </a:schemeClr>
                  </a:gs>
                  <a:gs pos="99000">
                    <a:schemeClr val="accent1">
                      <a:alpha val="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32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200000">
                <a:off x="6176784" y="2124244"/>
                <a:ext cx="4275539" cy="895013"/>
              </a:xfrm>
              <a:prstGeom prst="rect">
                <a:avLst/>
              </a:prstGeom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73971" y="4016629"/>
              <a:ext cx="836578" cy="781046"/>
              <a:chOff x="4153711" y="2181228"/>
              <a:chExt cx="836578" cy="781046"/>
            </a:xfrm>
            <a:effectLst/>
          </p:grpSpPr>
          <p:sp>
            <p:nvSpPr>
              <p:cNvPr id="15" name="Rectangle 14"/>
              <p:cNvSpPr/>
              <p:nvPr userDrawn="1"/>
            </p:nvSpPr>
            <p:spPr>
              <a:xfrm>
                <a:off x="4153711" y="2181228"/>
                <a:ext cx="836578" cy="7810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53869" y="2262885"/>
                <a:ext cx="636262" cy="617731"/>
              </a:xfrm>
              <a:prstGeom prst="rect">
                <a:avLst/>
              </a:prstGeom>
            </p:spPr>
          </p:pic>
        </p:grpSp>
      </p:grp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898628" y="569977"/>
            <a:ext cx="11176462" cy="1613607"/>
          </a:xfrm>
        </p:spPr>
        <p:txBody>
          <a:bodyPr/>
          <a:lstStyle/>
          <a:p>
            <a:r>
              <a:rPr lang="en-US" altLang="ko-KR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inforecement</a:t>
            </a:r>
            <a:r>
              <a:rPr lang="en-US" altLang="ko-K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earning </a:t>
            </a:r>
            <a:br>
              <a:rPr lang="en-US" altLang="ko-K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ko-K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 </a:t>
            </a:r>
            <a:r>
              <a:rPr lang="en-US" altLang="ko-KR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lang="en-US" altLang="ko-K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se (FOR discussion)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ko-K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 2021</a:t>
            </a:r>
          </a:p>
          <a:p>
            <a:r>
              <a:rPr lang="en-US" altLang="ko-KR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ongJu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16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Open-AI Cartpole Environ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9D8D8A-F3E4-4AC6-B056-045163E64D2D}"/>
              </a:ext>
            </a:extLst>
          </p:cNvPr>
          <p:cNvSpPr txBox="1"/>
          <p:nvPr/>
        </p:nvSpPr>
        <p:spPr>
          <a:xfrm>
            <a:off x="7413879" y="1547701"/>
            <a:ext cx="24384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rgbClr val="002060"/>
                </a:solidFill>
              </a:rPr>
              <a:t>Keep pushing to right side</a:t>
            </a:r>
            <a:endParaRPr lang="ko-KR" altLang="en-US" sz="1400" b="1" dirty="0">
              <a:solidFill>
                <a:srgbClr val="00206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90FDDC-AE00-44CB-8971-DBF970E62710}"/>
              </a:ext>
            </a:extLst>
          </p:cNvPr>
          <p:cNvSpPr txBox="1"/>
          <p:nvPr/>
        </p:nvSpPr>
        <p:spPr>
          <a:xfrm>
            <a:off x="1915918" y="1611815"/>
            <a:ext cx="2308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rgbClr val="002060"/>
                </a:solidFill>
              </a:rPr>
              <a:t>Keep pushing to left side</a:t>
            </a:r>
            <a:endParaRPr lang="ko-KR" altLang="en-US" sz="1400" b="1" dirty="0">
              <a:solidFill>
                <a:srgbClr val="002060"/>
              </a:solidFill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772874FE-04D3-4FC8-A9CD-2B3051979F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0248" y="1017040"/>
            <a:ext cx="2495697" cy="314028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BCBEDB72-94B3-45A8-A56C-F453262648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012" y="2150771"/>
            <a:ext cx="4803522" cy="4359499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746D6560-F859-4DED-8231-19CF14ED1F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35780" y="2150771"/>
            <a:ext cx="5127217" cy="422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812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Open-AI Cartpole Environment (Physics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75BEF03-26AA-49B1-9AD5-923E1F61CA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2594" y="1146538"/>
            <a:ext cx="5093252" cy="5295251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155725A-C62F-40BE-8731-0A65B2FAE2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4351" y="1146538"/>
            <a:ext cx="5412420" cy="1816668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D1BC502F-3AA1-418F-9D28-23E23066AF08}"/>
              </a:ext>
            </a:extLst>
          </p:cNvPr>
          <p:cNvSpPr/>
          <p:nvPr/>
        </p:nvSpPr>
        <p:spPr>
          <a:xfrm>
            <a:off x="6294352" y="2054180"/>
            <a:ext cx="5412419" cy="998113"/>
          </a:xfrm>
          <a:prstGeom prst="roundRect">
            <a:avLst/>
          </a:prstGeom>
          <a:solidFill>
            <a:srgbClr val="66CCFF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52F91E69-5DFD-496C-AE74-014530B18D66}"/>
              </a:ext>
            </a:extLst>
          </p:cNvPr>
          <p:cNvCxnSpPr>
            <a:cxnSpLocks/>
            <a:stCxn id="7" idx="1"/>
          </p:cNvCxnSpPr>
          <p:nvPr/>
        </p:nvCxnSpPr>
        <p:spPr>
          <a:xfrm flipH="1" flipV="1">
            <a:off x="2825704" y="1890679"/>
            <a:ext cx="3468648" cy="662558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5982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Open-AI Cartpole Environment (DQ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91AC8F-9A53-4C96-98D9-DB7920FC3FE4}"/>
              </a:ext>
            </a:extLst>
          </p:cNvPr>
          <p:cNvSpPr txBox="1"/>
          <p:nvPr/>
        </p:nvSpPr>
        <p:spPr>
          <a:xfrm>
            <a:off x="367896" y="910943"/>
            <a:ext cx="24367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002060"/>
                </a:solidFill>
                <a:latin typeface="calbiri"/>
              </a:rPr>
              <a:t>Learning Policy Using DQN</a:t>
            </a:r>
            <a:endParaRPr lang="ko-KR" altLang="en-US" sz="1600" b="1" dirty="0">
              <a:solidFill>
                <a:srgbClr val="002060"/>
              </a:solidFill>
              <a:latin typeface="calbiri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60E9A8F6-DA77-48AB-A84F-5CBCF7DD47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7896" y="1249497"/>
            <a:ext cx="5728104" cy="5536406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420970C1-E17D-4540-ABD5-D36A6EFCC4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01154" y="1249497"/>
            <a:ext cx="4169955" cy="240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518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Deep q Networ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91AC8F-9A53-4C96-98D9-DB7920FC3FE4}"/>
              </a:ext>
            </a:extLst>
          </p:cNvPr>
          <p:cNvSpPr txBox="1"/>
          <p:nvPr/>
        </p:nvSpPr>
        <p:spPr>
          <a:xfrm>
            <a:off x="360753" y="932375"/>
            <a:ext cx="15740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002060"/>
                </a:solidFill>
                <a:latin typeface="calbiri"/>
              </a:rPr>
              <a:t>Basic Algorithm:</a:t>
            </a:r>
            <a:endParaRPr lang="ko-KR" altLang="en-US" sz="1600" b="1" dirty="0">
              <a:solidFill>
                <a:srgbClr val="002060"/>
              </a:solidFill>
              <a:latin typeface="calbiri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7FC7979F-D4CC-4EC6-9BD9-2688003EDD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880" y="1886822"/>
            <a:ext cx="3512003" cy="85574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40CF513C-50A5-48B0-8318-5D08E6388C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048" y="2836395"/>
            <a:ext cx="6258151" cy="27130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1B4FADA-CD4E-4F1C-B7FF-9D585EAAF99B}"/>
              </a:ext>
            </a:extLst>
          </p:cNvPr>
          <p:cNvSpPr txBox="1"/>
          <p:nvPr/>
        </p:nvSpPr>
        <p:spPr>
          <a:xfrm>
            <a:off x="7061199" y="3236686"/>
            <a:ext cx="4731658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/>
              <a:t>Blue Box – Perfect Q fun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/>
              <a:t>Green Box – Current Q fun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/>
              <a:t>Red Box - loss function of DQN.</a:t>
            </a:r>
            <a:br>
              <a:rPr lang="en-US" altLang="ko-KR" dirty="0"/>
            </a:br>
            <a:endParaRPr lang="en-US" altLang="ko-KR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8573FF-8F06-4AFE-B639-4E02247E67F9}"/>
              </a:ext>
            </a:extLst>
          </p:cNvPr>
          <p:cNvSpPr txBox="1"/>
          <p:nvPr/>
        </p:nvSpPr>
        <p:spPr>
          <a:xfrm>
            <a:off x="187210" y="6518143"/>
            <a:ext cx="874485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dirty="0"/>
              <a:t>https://towardsdatascience.com/reinforcement-learning-concept-on-cart-pole-with-dqn-799105ca670</a:t>
            </a:r>
            <a:endParaRPr lang="ko-KR" altLang="en-US" sz="9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31B0046-569D-45C5-B3C3-466D33BD463D}"/>
              </a:ext>
            </a:extLst>
          </p:cNvPr>
          <p:cNvSpPr txBox="1"/>
          <p:nvPr/>
        </p:nvSpPr>
        <p:spPr>
          <a:xfrm>
            <a:off x="5161304" y="2398708"/>
            <a:ext cx="7030696" cy="456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“We want to minimize the loss so that there is nothing to learn!”</a:t>
            </a:r>
            <a:endParaRPr lang="ko-KR" altLang="en-US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622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Deep q Networ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91AC8F-9A53-4C96-98D9-DB7920FC3FE4}"/>
              </a:ext>
            </a:extLst>
          </p:cNvPr>
          <p:cNvSpPr txBox="1"/>
          <p:nvPr/>
        </p:nvSpPr>
        <p:spPr>
          <a:xfrm>
            <a:off x="360753" y="932375"/>
            <a:ext cx="17483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002060"/>
                </a:solidFill>
                <a:latin typeface="calbiri"/>
              </a:rPr>
              <a:t>Network We Need</a:t>
            </a:r>
            <a:endParaRPr lang="ko-KR" altLang="en-US" sz="1600" b="1" dirty="0">
              <a:solidFill>
                <a:srgbClr val="002060"/>
              </a:solidFill>
              <a:latin typeface="calbi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A83283-D764-49FE-A945-6C70FC44BB2A}"/>
              </a:ext>
            </a:extLst>
          </p:cNvPr>
          <p:cNvSpPr txBox="1"/>
          <p:nvPr/>
        </p:nvSpPr>
        <p:spPr>
          <a:xfrm>
            <a:off x="298688" y="4685596"/>
            <a:ext cx="60971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dirty="0"/>
              <a:t>https://towardsdatascience.com/reinforcement-learning-concept-on-cart-pole-with-dqn-799105ca670</a:t>
            </a:r>
            <a:endParaRPr lang="ko-KR" altLang="en-US" sz="9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396830-F8F0-4F2D-8421-28BF916B1832}"/>
              </a:ext>
            </a:extLst>
          </p:cNvPr>
          <p:cNvSpPr txBox="1"/>
          <p:nvPr/>
        </p:nvSpPr>
        <p:spPr>
          <a:xfrm>
            <a:off x="6499027" y="6570553"/>
            <a:ext cx="60971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dirty="0"/>
              <a:t>https://towardsdatascience.com/welcome-to-deep-reinforcement-learning-part-1-dqn-c3cab4d41b6b</a:t>
            </a:r>
            <a:endParaRPr lang="ko-KR" altLang="en-US" sz="900" dirty="0"/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E02065B8-333A-41E7-8C33-FF04069FFB77}"/>
              </a:ext>
            </a:extLst>
          </p:cNvPr>
          <p:cNvGrpSpPr/>
          <p:nvPr/>
        </p:nvGrpSpPr>
        <p:grpSpPr>
          <a:xfrm>
            <a:off x="6770833" y="1054442"/>
            <a:ext cx="4431024" cy="4981744"/>
            <a:chOff x="6770833" y="1054442"/>
            <a:chExt cx="4431024" cy="4981744"/>
          </a:xfrm>
        </p:grpSpPr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8BCCC017-1FD8-4FE2-909C-91A64245F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70833" y="1054442"/>
              <a:ext cx="4431024" cy="4981744"/>
            </a:xfrm>
            <a:prstGeom prst="rect">
              <a:avLst/>
            </a:prstGeom>
          </p:spPr>
        </p:pic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F0142CFD-FFF3-4DB5-B7B2-07B24912896F}"/>
                    </a:ext>
                  </a:extLst>
                </p14:cNvPr>
                <p14:cNvContentPartPr/>
                <p14:nvPr/>
              </p14:nvContentPartPr>
              <p14:xfrm>
                <a:off x="6936491" y="4957594"/>
                <a:ext cx="3158640" cy="1476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F0142CFD-FFF3-4DB5-B7B2-07B24912896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882491" y="4849594"/>
                  <a:ext cx="3266280" cy="2304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6A65077B-EBD4-44A5-8096-750606625687}"/>
                </a:ext>
              </a:extLst>
            </p:cNvPr>
            <p:cNvSpPr/>
            <p:nvPr/>
          </p:nvSpPr>
          <p:spPr>
            <a:xfrm>
              <a:off x="8986345" y="4801012"/>
              <a:ext cx="1551327" cy="3131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25" name="그림 24">
            <a:extLst>
              <a:ext uri="{FF2B5EF4-FFF2-40B4-BE49-F238E27FC236}">
                <a16:creationId xmlns:a16="http://schemas.microsoft.com/office/drawing/2014/main" id="{A18C3222-491C-4F7F-A48C-234DB69E7A6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8688" y="1387043"/>
            <a:ext cx="3872005" cy="306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345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640" y="255972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Deep Q Networ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79004A-D950-47A2-8A16-56F07F4D839C}"/>
              </a:ext>
            </a:extLst>
          </p:cNvPr>
          <p:cNvSpPr txBox="1"/>
          <p:nvPr/>
        </p:nvSpPr>
        <p:spPr>
          <a:xfrm>
            <a:off x="416210" y="983768"/>
            <a:ext cx="5156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u="sng" dirty="0"/>
              <a:t>Things We Need to Know before Applying DQN</a:t>
            </a:r>
            <a:r>
              <a:rPr lang="en-US" altLang="ko-KR" dirty="0"/>
              <a:t>: 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0A324A-3A31-4AFB-936C-F8AFBFA06FD7}"/>
              </a:ext>
            </a:extLst>
          </p:cNvPr>
          <p:cNvSpPr txBox="1"/>
          <p:nvPr/>
        </p:nvSpPr>
        <p:spPr>
          <a:xfrm>
            <a:off x="826113" y="1608084"/>
            <a:ext cx="6774034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Observation States Space </a:t>
            </a:r>
            <a:r>
              <a:rPr lang="en-US" altLang="ko-KR" dirty="0"/>
              <a:t>: [X1, X2, X3 X4]</a:t>
            </a:r>
            <a:br>
              <a:rPr lang="en-US" altLang="ko-KR" dirty="0"/>
            </a:b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Action Space: </a:t>
            </a:r>
            <a:r>
              <a:rPr lang="en-US" altLang="ko-KR" dirty="0"/>
              <a:t>[0, 1]</a:t>
            </a:r>
            <a:br>
              <a:rPr lang="en-US" altLang="ko-KR" dirty="0"/>
            </a:b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Reward Structure</a:t>
            </a:r>
            <a:r>
              <a:rPr lang="en-US" altLang="ko-KR" dirty="0"/>
              <a:t>:  1 if theta(X3) is less than 15 degree</a:t>
            </a:r>
            <a:br>
              <a:rPr lang="en-US" altLang="ko-KR" dirty="0"/>
            </a:br>
            <a:r>
              <a:rPr lang="en-US" altLang="ko-KR" dirty="0"/>
              <a:t>                               0 otherwise -&gt; Game Over!</a:t>
            </a: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Transition:</a:t>
            </a:r>
            <a:br>
              <a:rPr lang="en-US" altLang="ko-KR" dirty="0"/>
            </a:br>
            <a:endParaRPr lang="en-US" altLang="ko-KR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dirty="0" err="1"/>
              <a:t>Env.Reset</a:t>
            </a:r>
            <a:r>
              <a:rPr lang="en-US" altLang="ko-KR" dirty="0"/>
              <a:t>()</a:t>
            </a:r>
            <a:br>
              <a:rPr lang="en-US" altLang="ko-KR" dirty="0"/>
            </a:br>
            <a:r>
              <a:rPr lang="en-US" altLang="ko-KR" dirty="0"/>
              <a:t>Initiate a simulation by creating starting states</a:t>
            </a:r>
            <a:br>
              <a:rPr lang="en-US" altLang="ko-KR" dirty="0"/>
            </a:br>
            <a:endParaRPr lang="en-US" altLang="ko-KR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dirty="0" err="1"/>
              <a:t>Env.Step</a:t>
            </a:r>
            <a:r>
              <a:rPr lang="en-US" altLang="ko-KR" dirty="0"/>
              <a:t>( action )</a:t>
            </a:r>
            <a:br>
              <a:rPr lang="en-US" altLang="ko-KR" dirty="0"/>
            </a:br>
            <a:r>
              <a:rPr lang="en-US" altLang="ko-KR" dirty="0"/>
              <a:t>Generate </a:t>
            </a:r>
            <a:r>
              <a:rPr lang="en-US" altLang="ko-KR" u="sng" dirty="0"/>
              <a:t>‘next states</a:t>
            </a:r>
            <a:r>
              <a:rPr lang="en-US" altLang="ko-KR" dirty="0"/>
              <a:t>’, ‘reward’, ‘end flag’ given an action</a:t>
            </a:r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2FDBB88-37AA-4668-BBCF-D97535EC2D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7202" y="1052586"/>
            <a:ext cx="3310003" cy="11109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7F7843-BAD3-4BCB-9FDE-60C88026EBE1}"/>
              </a:ext>
            </a:extLst>
          </p:cNvPr>
          <p:cNvSpPr txBox="1"/>
          <p:nvPr/>
        </p:nvSpPr>
        <p:spPr>
          <a:xfrm>
            <a:off x="8425092" y="1052586"/>
            <a:ext cx="31130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/>
              <a:t>X1</a:t>
            </a:r>
          </a:p>
          <a:p>
            <a:endParaRPr lang="en-US" altLang="ko-KR" sz="800" dirty="0"/>
          </a:p>
          <a:p>
            <a:r>
              <a:rPr lang="en-US" altLang="ko-KR" sz="800" dirty="0"/>
              <a:t>X2</a:t>
            </a:r>
            <a:br>
              <a:rPr lang="en-US" altLang="ko-KR" sz="800" dirty="0"/>
            </a:br>
            <a:endParaRPr lang="en-US" altLang="ko-KR" sz="800" dirty="0"/>
          </a:p>
          <a:p>
            <a:endParaRPr lang="en-US" altLang="ko-KR" sz="800" dirty="0"/>
          </a:p>
          <a:p>
            <a:r>
              <a:rPr lang="en-US" altLang="ko-KR" sz="800" dirty="0"/>
              <a:t>X3</a:t>
            </a:r>
          </a:p>
          <a:p>
            <a:endParaRPr lang="en-US" altLang="ko-KR" sz="800" dirty="0"/>
          </a:p>
          <a:p>
            <a:r>
              <a:rPr lang="en-US" altLang="ko-KR" sz="800" dirty="0"/>
              <a:t>X4</a:t>
            </a:r>
            <a:endParaRPr lang="ko-KR" altLang="en-US" sz="800" dirty="0"/>
          </a:p>
        </p:txBody>
      </p:sp>
    </p:spTree>
    <p:extLst>
      <p:ext uri="{BB962C8B-B14F-4D97-AF65-F5344CB8AC3E}">
        <p14:creationId xmlns:p14="http://schemas.microsoft.com/office/powerpoint/2010/main" val="9050165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129" y="180297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39AD1282-5371-4D15-BE4B-C08EBD983E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964" y="966047"/>
            <a:ext cx="11045780" cy="53647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01F4D7F-A93E-43FA-8C06-E09B9425DD50}"/>
              </a:ext>
            </a:extLst>
          </p:cNvPr>
          <p:cNvSpPr txBox="1"/>
          <p:nvPr/>
        </p:nvSpPr>
        <p:spPr>
          <a:xfrm>
            <a:off x="6661058" y="966047"/>
            <a:ext cx="51316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200" dirty="0"/>
              <a:t>High air to gas ratio: Too much air and less fuel generates weak heat.</a:t>
            </a:r>
            <a:br>
              <a:rPr lang="en-US" altLang="ko-KR" sz="1200" dirty="0"/>
            </a:br>
            <a:endParaRPr lang="en-US" altLang="ko-KR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200" dirty="0"/>
              <a:t>Low air to gas ratio:  Too much fuel and less air makes the fuel wasted, because fuel are not turned into heat 100%.</a:t>
            </a:r>
            <a:endParaRPr lang="ko-KR" alt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7A6155-1D2D-44EB-BCDF-0EBABC356AAA}"/>
              </a:ext>
            </a:extLst>
          </p:cNvPr>
          <p:cNvSpPr txBox="1"/>
          <p:nvPr/>
        </p:nvSpPr>
        <p:spPr>
          <a:xfrm>
            <a:off x="472965" y="966047"/>
            <a:ext cx="2112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/>
              <a:t>REMELT MELTER</a:t>
            </a:r>
            <a:endParaRPr lang="ko-KR" altLang="en-US" b="1" dirty="0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F82A14E1-8B9B-4E87-9D17-4F6F8C31CEB9}"/>
              </a:ext>
            </a:extLst>
          </p:cNvPr>
          <p:cNvSpPr/>
          <p:nvPr/>
        </p:nvSpPr>
        <p:spPr>
          <a:xfrm>
            <a:off x="3897085" y="4332514"/>
            <a:ext cx="116114" cy="137885"/>
          </a:xfrm>
          <a:prstGeom prst="ellipse">
            <a:avLst/>
          </a:prstGeom>
          <a:solidFill>
            <a:srgbClr val="FF66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1F4E5CDB-8DE8-45A2-81DF-66F58201EFEB}"/>
              </a:ext>
            </a:extLst>
          </p:cNvPr>
          <p:cNvSpPr/>
          <p:nvPr/>
        </p:nvSpPr>
        <p:spPr>
          <a:xfrm>
            <a:off x="1865085" y="5486400"/>
            <a:ext cx="116114" cy="137885"/>
          </a:xfrm>
          <a:prstGeom prst="ellipse">
            <a:avLst/>
          </a:prstGeom>
          <a:solidFill>
            <a:srgbClr val="FF66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86DD6F85-2F93-4BDC-93EC-874BF39963DF}"/>
              </a:ext>
            </a:extLst>
          </p:cNvPr>
          <p:cNvSpPr/>
          <p:nvPr/>
        </p:nvSpPr>
        <p:spPr>
          <a:xfrm>
            <a:off x="4296228" y="3918857"/>
            <a:ext cx="116114" cy="137885"/>
          </a:xfrm>
          <a:prstGeom prst="ellipse">
            <a:avLst/>
          </a:prstGeom>
          <a:solidFill>
            <a:srgbClr val="FF66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8270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129" y="180297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88CFF9-DE01-4A41-9AD1-41FF6EFE92EB}"/>
              </a:ext>
            </a:extLst>
          </p:cNvPr>
          <p:cNvSpPr txBox="1"/>
          <p:nvPr/>
        </p:nvSpPr>
        <p:spPr>
          <a:xfrm>
            <a:off x="319640" y="983768"/>
            <a:ext cx="9920344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u="sng" dirty="0"/>
              <a:t>Why Do We Use RL for ‘Air-Gas Ratio’ Problem? </a:t>
            </a: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If we were to know the optimal air-gas ratio given situation, then we would be better off doing</a:t>
            </a:r>
            <a:br>
              <a:rPr lang="en-US" altLang="ko-KR" dirty="0"/>
            </a:br>
            <a:r>
              <a:rPr lang="en-US" altLang="ko-KR" dirty="0"/>
              <a:t> supervised learning such that Action = F(States)</a:t>
            </a: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We simply don’t know the optimal air-gas ratio given states.</a:t>
            </a:r>
            <a:br>
              <a:rPr lang="en-US" altLang="ko-KR" dirty="0"/>
            </a:br>
            <a:r>
              <a:rPr lang="en-US" altLang="ko-KR" dirty="0"/>
              <a:t>(Physics engineer probably knows…)</a:t>
            </a: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As such, we want to test RL to know if it is working.</a:t>
            </a: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or RL to work, we set up a performance reward at the end of cycle.</a:t>
            </a:r>
            <a:br>
              <a:rPr lang="en-US" altLang="ko-KR" dirty="0"/>
            </a:br>
            <a:br>
              <a:rPr lang="en-US" altLang="ko-KR" dirty="0"/>
            </a:b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15944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640" y="255972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79004A-D950-47A2-8A16-56F07F4D839C}"/>
              </a:ext>
            </a:extLst>
          </p:cNvPr>
          <p:cNvSpPr txBox="1"/>
          <p:nvPr/>
        </p:nvSpPr>
        <p:spPr>
          <a:xfrm>
            <a:off x="319640" y="983768"/>
            <a:ext cx="1911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We must define: 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E3F1C6-E4C9-43CF-B876-168B7C419863}"/>
              </a:ext>
            </a:extLst>
          </p:cNvPr>
          <p:cNvSpPr txBox="1"/>
          <p:nvPr/>
        </p:nvSpPr>
        <p:spPr>
          <a:xfrm>
            <a:off x="1223404" y="1601778"/>
            <a:ext cx="10843738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Observation States Space </a:t>
            </a:r>
            <a:r>
              <a:rPr lang="en-US" altLang="ko-KR" dirty="0"/>
              <a:t>: [X1, X2, X3, X4]</a:t>
            </a:r>
            <a:br>
              <a:rPr lang="en-US" altLang="ko-KR" dirty="0"/>
            </a:b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Action Space: </a:t>
            </a:r>
            <a:r>
              <a:rPr lang="en-US" altLang="ko-KR" dirty="0"/>
              <a:t>[0, 1, 2, 3, 4]</a:t>
            </a:r>
            <a:br>
              <a:rPr lang="en-US" altLang="ko-KR" dirty="0"/>
            </a:b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Reward Structure</a:t>
            </a:r>
            <a:r>
              <a:rPr lang="en-US" altLang="ko-KR" dirty="0"/>
              <a:t>:  When the temperature reaches 960,</a:t>
            </a:r>
            <a:br>
              <a:rPr lang="en-US" altLang="ko-KR" dirty="0"/>
            </a:br>
            <a:r>
              <a:rPr lang="en-US" altLang="ko-KR" dirty="0"/>
              <a:t>                               Reward = (1) + (2)</a:t>
            </a:r>
            <a:br>
              <a:rPr lang="en-US" altLang="ko-KR" dirty="0"/>
            </a:br>
            <a:r>
              <a:rPr lang="en-US" altLang="ko-KR" dirty="0"/>
              <a:t>                                (1) Average temp increase / min is greater than 5 degree (speedy temp increase) </a:t>
            </a:r>
            <a:br>
              <a:rPr lang="en-US" altLang="ko-KR" dirty="0"/>
            </a:br>
            <a:r>
              <a:rPr lang="en-US" altLang="ko-KR" dirty="0"/>
              <a:t>                                (2) Average Air/gas ratio (fuel saving)</a:t>
            </a:r>
            <a:br>
              <a:rPr lang="en-US" altLang="ko-KR" dirty="0"/>
            </a:b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solidFill>
                  <a:srgbClr val="0070C0"/>
                </a:solidFill>
              </a:rPr>
              <a:t>Transition:</a:t>
            </a:r>
            <a:br>
              <a:rPr lang="en-US" altLang="ko-KR" dirty="0"/>
            </a:br>
            <a:endParaRPr lang="en-US" altLang="ko-KR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dirty="0" err="1"/>
              <a:t>Env.Reset</a:t>
            </a:r>
            <a:r>
              <a:rPr lang="en-US" altLang="ko-KR" dirty="0"/>
              <a:t>()</a:t>
            </a:r>
            <a:br>
              <a:rPr lang="en-US" altLang="ko-KR" dirty="0"/>
            </a:br>
            <a:r>
              <a:rPr lang="en-US" altLang="ko-KR" dirty="0"/>
              <a:t>Initiate a simulation by randomly selecting starting states</a:t>
            </a:r>
            <a:br>
              <a:rPr lang="en-US" altLang="ko-KR" dirty="0"/>
            </a:br>
            <a:endParaRPr lang="en-US" altLang="ko-KR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dirty="0" err="1"/>
              <a:t>Env.Step</a:t>
            </a:r>
            <a:r>
              <a:rPr lang="en-US" altLang="ko-KR" dirty="0"/>
              <a:t>( action )</a:t>
            </a:r>
            <a:br>
              <a:rPr lang="en-US" altLang="ko-KR" dirty="0"/>
            </a:br>
            <a:r>
              <a:rPr lang="en-US" altLang="ko-KR" dirty="0"/>
              <a:t>Generate ‘</a:t>
            </a:r>
            <a:r>
              <a:rPr lang="en-US" altLang="ko-KR" u="sng" dirty="0"/>
              <a:t>next states</a:t>
            </a:r>
            <a:r>
              <a:rPr lang="en-US" altLang="ko-KR" dirty="0"/>
              <a:t>’, ‘reward’, ‘end flag’ given an action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443ABC-C800-4269-9E78-416B6433AD37}"/>
              </a:ext>
            </a:extLst>
          </p:cNvPr>
          <p:cNvSpPr txBox="1"/>
          <p:nvPr/>
        </p:nvSpPr>
        <p:spPr>
          <a:xfrm>
            <a:off x="6472395" y="1353100"/>
            <a:ext cx="2445478" cy="11661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/>
              <a:t>X1: Preheater Temperature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X2: Melter Inner Pressure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X3: Melter Inner Temperature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X4: Cold(Non-Molten) Input (Ton)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1025120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640" y="255972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79004A-D950-47A2-8A16-56F07F4D839C}"/>
              </a:ext>
            </a:extLst>
          </p:cNvPr>
          <p:cNvSpPr txBox="1"/>
          <p:nvPr/>
        </p:nvSpPr>
        <p:spPr>
          <a:xfrm>
            <a:off x="390985" y="1103586"/>
            <a:ext cx="9478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Action Space: 5 actions</a:t>
            </a:r>
            <a:br>
              <a:rPr lang="en-US" altLang="ko-KR" dirty="0"/>
            </a:br>
            <a:br>
              <a:rPr lang="en-US" altLang="ko-KR" dirty="0"/>
            </a:b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DA00A73-AA60-4810-A879-C0A535E7FE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8061" y="1708447"/>
            <a:ext cx="5495356" cy="4145001"/>
          </a:xfrm>
          <a:prstGeom prst="rect">
            <a:avLst/>
          </a:prstGeom>
        </p:spPr>
      </p:pic>
      <p:sp>
        <p:nvSpPr>
          <p:cNvPr id="10" name="타원 9">
            <a:extLst>
              <a:ext uri="{FF2B5EF4-FFF2-40B4-BE49-F238E27FC236}">
                <a16:creationId xmlns:a16="http://schemas.microsoft.com/office/drawing/2014/main" id="{D00A1E83-46F4-4AF4-BD19-DA5D58103CC8}"/>
              </a:ext>
            </a:extLst>
          </p:cNvPr>
          <p:cNvSpPr/>
          <p:nvPr/>
        </p:nvSpPr>
        <p:spPr>
          <a:xfrm>
            <a:off x="660400" y="2026916"/>
            <a:ext cx="2510971" cy="174679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825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nalytics outcome Deployment</a:t>
            </a:r>
          </a:p>
        </p:txBody>
      </p:sp>
      <p:graphicFrame>
        <p:nvGraphicFramePr>
          <p:cNvPr id="6" name="표 6">
            <a:extLst>
              <a:ext uri="{FF2B5EF4-FFF2-40B4-BE49-F238E27FC236}">
                <a16:creationId xmlns:a16="http://schemas.microsoft.com/office/drawing/2014/main" id="{BD169618-46F2-4417-AABA-DDDEFCBE6F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673873"/>
              </p:ext>
            </p:extLst>
          </p:nvPr>
        </p:nvGraphicFramePr>
        <p:xfrm>
          <a:off x="1237488" y="1791720"/>
          <a:ext cx="9717024" cy="3969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9008">
                  <a:extLst>
                    <a:ext uri="{9D8B030D-6E8A-4147-A177-3AD203B41FA5}">
                      <a16:colId xmlns:a16="http://schemas.microsoft.com/office/drawing/2014/main" val="2485155991"/>
                    </a:ext>
                  </a:extLst>
                </a:gridCol>
                <a:gridCol w="3239008">
                  <a:extLst>
                    <a:ext uri="{9D8B030D-6E8A-4147-A177-3AD203B41FA5}">
                      <a16:colId xmlns:a16="http://schemas.microsoft.com/office/drawing/2014/main" val="3785814880"/>
                    </a:ext>
                  </a:extLst>
                </a:gridCol>
                <a:gridCol w="3239008">
                  <a:extLst>
                    <a:ext uri="{9D8B030D-6E8A-4147-A177-3AD203B41FA5}">
                      <a16:colId xmlns:a16="http://schemas.microsoft.com/office/drawing/2014/main" val="1537317733"/>
                    </a:ext>
                  </a:extLst>
                </a:gridCol>
              </a:tblGrid>
              <a:tr h="5100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ployment Type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Case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latinLnBrk="1"/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allenge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938059"/>
                  </a:ext>
                </a:extLst>
              </a:tr>
              <a:tr h="113019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uick actions from analytic insight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C Fan replacement</a:t>
                      </a:r>
                    </a:p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ll box more frequent replacement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s investments</a:t>
                      </a:r>
                    </a:p>
                    <a:p>
                      <a:pPr latinLnBrk="1"/>
                      <a:r>
                        <a:rPr lang="en-US" altLang="ko-KR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OP change, sensor installment, machine replacement)</a:t>
                      </a:r>
                      <a:endParaRPr lang="ko-KR" alt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196301"/>
                  </a:ext>
                </a:extLst>
              </a:tr>
              <a:tr h="113019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shboard / Webapp for informed decisions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ycle material mix optimization</a:t>
                      </a:r>
                    </a:p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M – bending and tilting models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tra efforts to make UI </a:t>
                      </a:r>
                    </a:p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 maintenance</a:t>
                      </a:r>
                    </a:p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tors don’t need to follow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6935888"/>
                  </a:ext>
                </a:extLst>
              </a:tr>
              <a:tr h="113019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chine Control for optimization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dictive zone 3 control</a:t>
                      </a:r>
                    </a:p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6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ir/gas ratio automation</a:t>
                      </a:r>
                      <a:br>
                        <a:rPr lang="en-US" altLang="ko-KR" sz="16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altLang="ko-KR" sz="160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today’s presentation)</a:t>
                      </a:r>
                      <a:endParaRPr lang="ko-KR" altLang="en-US" sz="1600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  <a:tabLst>
                          <a:tab pos="176213" algn="l"/>
                        </a:tabLst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action with PLC real time data</a:t>
                      </a:r>
                    </a:p>
                    <a:p>
                      <a:pPr marL="176213" indent="-176213" latinLnBrk="1">
                        <a:buFont typeface="Arial" panose="020B0604020202020204" pitchFamily="34" charset="0"/>
                        <a:buChar char="•"/>
                        <a:tabLst>
                          <a:tab pos="176213" algn="l"/>
                        </a:tabLst>
                      </a:pPr>
                      <a:r>
                        <a:rPr lang="en-US" altLang="ko-KR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orking with automation </a:t>
                      </a:r>
                      <a:endParaRPr lang="ko-KR" alt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7567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6360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640" y="255972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79004A-D950-47A2-8A16-56F07F4D839C}"/>
              </a:ext>
            </a:extLst>
          </p:cNvPr>
          <p:cNvSpPr txBox="1"/>
          <p:nvPr/>
        </p:nvSpPr>
        <p:spPr>
          <a:xfrm>
            <a:off x="431732" y="1271834"/>
            <a:ext cx="225356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Transition Function:</a:t>
            </a:r>
            <a:br>
              <a:rPr lang="en-US" altLang="ko-KR" dirty="0"/>
            </a:br>
            <a:br>
              <a:rPr lang="en-US" altLang="ko-KR" dirty="0"/>
            </a:b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60B1D6-B7DA-4B70-8027-92F1590051A5}"/>
              </a:ext>
            </a:extLst>
          </p:cNvPr>
          <p:cNvSpPr txBox="1"/>
          <p:nvPr/>
        </p:nvSpPr>
        <p:spPr>
          <a:xfrm>
            <a:off x="2761275" y="1282281"/>
            <a:ext cx="5064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F(X1, X2, X3, X4, Action) =  Delta (X1, X2, X3)</a:t>
            </a:r>
            <a:endParaRPr lang="ko-KR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0EEDF-F3CC-4CDC-A052-8683E466E4DA}"/>
              </a:ext>
            </a:extLst>
          </p:cNvPr>
          <p:cNvSpPr txBox="1"/>
          <p:nvPr/>
        </p:nvSpPr>
        <p:spPr>
          <a:xfrm>
            <a:off x="5695420" y="929253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i="1" dirty="0">
                <a:solidFill>
                  <a:srgbClr val="0070C0"/>
                </a:solidFill>
              </a:rPr>
              <a:t>3 minutes later</a:t>
            </a:r>
            <a:endParaRPr lang="ko-KR" altLang="en-US" i="1" dirty="0">
              <a:solidFill>
                <a:srgbClr val="0070C0"/>
              </a:solidFill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94AF8CE7-AA80-4BEF-BF01-429E751A8F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16095" y="2195164"/>
            <a:ext cx="4609451" cy="351017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B2EA0EF-B3A7-4164-8CCE-FBCDCC637E20}"/>
              </a:ext>
            </a:extLst>
          </p:cNvPr>
          <p:cNvSpPr txBox="1"/>
          <p:nvPr/>
        </p:nvSpPr>
        <p:spPr>
          <a:xfrm>
            <a:off x="8390190" y="1068536"/>
            <a:ext cx="2445478" cy="11661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/>
              <a:t>X1: Preheater Temperature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X2: Melter Inner Pressure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X3: Melter Inner Temperature</a:t>
            </a:r>
          </a:p>
          <a:p>
            <a:pPr>
              <a:lnSpc>
                <a:spcPct val="150000"/>
              </a:lnSpc>
            </a:pPr>
            <a:r>
              <a:rPr lang="en-US" altLang="ko-KR" sz="1200" dirty="0"/>
              <a:t>X4: Cold(Non-Molten) Input (Ton)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1947130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>
            <a:extLst>
              <a:ext uri="{FF2B5EF4-FFF2-40B4-BE49-F238E27FC236}">
                <a16:creationId xmlns:a16="http://schemas.microsoft.com/office/drawing/2014/main" id="{EE1718F8-F3AE-4E9A-81B0-B7C9CF49BA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5119" y="952978"/>
            <a:ext cx="5638825" cy="564905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640" y="255972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79004A-D950-47A2-8A16-56F07F4D839C}"/>
              </a:ext>
            </a:extLst>
          </p:cNvPr>
          <p:cNvSpPr txBox="1"/>
          <p:nvPr/>
        </p:nvSpPr>
        <p:spPr>
          <a:xfrm>
            <a:off x="390985" y="1103586"/>
            <a:ext cx="32496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Melter(Furnace) Environment:</a:t>
            </a:r>
            <a:br>
              <a:rPr lang="en-US" altLang="ko-KR" dirty="0"/>
            </a:br>
            <a:br>
              <a:rPr lang="en-US" altLang="ko-KR" dirty="0"/>
            </a:br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E5C2E8-5D34-4443-B852-51C7799C469C}"/>
              </a:ext>
            </a:extLst>
          </p:cNvPr>
          <p:cNvSpPr txBox="1"/>
          <p:nvPr/>
        </p:nvSpPr>
        <p:spPr>
          <a:xfrm>
            <a:off x="0" y="1565251"/>
            <a:ext cx="609494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400" dirty="0" err="1"/>
              <a:t>Env.Reset</a:t>
            </a:r>
            <a:r>
              <a:rPr lang="en-US" altLang="ko-KR" sz="1400" dirty="0"/>
              <a:t>()</a:t>
            </a:r>
            <a:br>
              <a:rPr lang="en-US" altLang="ko-KR" sz="1400" dirty="0"/>
            </a:br>
            <a:r>
              <a:rPr lang="en-US" altLang="ko-KR" sz="1400" dirty="0"/>
              <a:t>Initiate a simulation by randomly selecting starting states</a:t>
            </a:r>
            <a:br>
              <a:rPr lang="en-US" altLang="ko-KR" sz="1400" dirty="0"/>
            </a:br>
            <a:endParaRPr lang="en-US" altLang="ko-K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400" dirty="0" err="1"/>
              <a:t>Env.Step</a:t>
            </a:r>
            <a:r>
              <a:rPr lang="en-US" altLang="ko-KR" sz="1400" dirty="0"/>
              <a:t>( Action )</a:t>
            </a:r>
            <a:br>
              <a:rPr lang="en-US" altLang="ko-KR" sz="1400" dirty="0"/>
            </a:br>
            <a:r>
              <a:rPr lang="en-US" altLang="ko-KR" sz="1400" dirty="0"/>
              <a:t>- Generate ‘</a:t>
            </a:r>
            <a:r>
              <a:rPr lang="en-US" altLang="ko-KR" sz="1400" u="sng" dirty="0"/>
              <a:t>next states</a:t>
            </a:r>
            <a:r>
              <a:rPr lang="en-US" altLang="ko-KR" sz="1400" dirty="0"/>
              <a:t>’, ‘reward’, ‘end flag’ given an action</a:t>
            </a:r>
            <a:br>
              <a:rPr lang="en-US" altLang="ko-KR" sz="1400" dirty="0"/>
            </a:br>
            <a:r>
              <a:rPr lang="en-US" altLang="ko-KR" sz="1400" dirty="0"/>
              <a:t>- Gaussian noise added to the next states</a:t>
            </a:r>
            <a:br>
              <a:rPr lang="en-US" altLang="ko-KR" sz="1400" dirty="0"/>
            </a:br>
            <a:endParaRPr lang="en-US" altLang="ko-K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400" dirty="0" err="1"/>
              <a:t>Random_Action</a:t>
            </a:r>
            <a:r>
              <a:rPr lang="en-US" altLang="ko-KR" sz="1400" dirty="0"/>
              <a:t>(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altLang="ko-KR" sz="1400" dirty="0"/>
              <a:t>Random action from an action space</a:t>
            </a:r>
            <a:endParaRPr lang="ko-KR" altLang="en-US" sz="1400" dirty="0"/>
          </a:p>
        </p:txBody>
      </p:sp>
      <p:sp>
        <p:nvSpPr>
          <p:cNvPr id="15" name="오른쪽 중괄호 14">
            <a:extLst>
              <a:ext uri="{FF2B5EF4-FFF2-40B4-BE49-F238E27FC236}">
                <a16:creationId xmlns:a16="http://schemas.microsoft.com/office/drawing/2014/main" id="{219A4140-14F7-482F-82EB-965E7F7D5C2A}"/>
              </a:ext>
            </a:extLst>
          </p:cNvPr>
          <p:cNvSpPr/>
          <p:nvPr/>
        </p:nvSpPr>
        <p:spPr>
          <a:xfrm>
            <a:off x="10036664" y="3259118"/>
            <a:ext cx="348343" cy="1603167"/>
          </a:xfrm>
          <a:prstGeom prst="rightBrac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중괄호 15">
            <a:extLst>
              <a:ext uri="{FF2B5EF4-FFF2-40B4-BE49-F238E27FC236}">
                <a16:creationId xmlns:a16="http://schemas.microsoft.com/office/drawing/2014/main" id="{143BB6DD-8752-484B-A817-D65C0B5213CF}"/>
              </a:ext>
            </a:extLst>
          </p:cNvPr>
          <p:cNvSpPr/>
          <p:nvPr/>
        </p:nvSpPr>
        <p:spPr>
          <a:xfrm>
            <a:off x="10036665" y="4992915"/>
            <a:ext cx="159622" cy="1030514"/>
          </a:xfrm>
          <a:prstGeom prst="rightBrac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336FD3-6921-4507-B5E5-733D57F2D504}"/>
              </a:ext>
            </a:extLst>
          </p:cNvPr>
          <p:cNvSpPr txBox="1"/>
          <p:nvPr/>
        </p:nvSpPr>
        <p:spPr>
          <a:xfrm>
            <a:off x="10210835" y="5231173"/>
            <a:ext cx="130676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>
                <a:solidFill>
                  <a:schemeClr val="bg1"/>
                </a:solidFill>
              </a:rPr>
              <a:t>Reward is given</a:t>
            </a:r>
          </a:p>
          <a:p>
            <a:r>
              <a:rPr lang="en-US" altLang="ko-KR" sz="900" dirty="0">
                <a:solidFill>
                  <a:schemeClr val="bg1"/>
                </a:solidFill>
              </a:rPr>
              <a:t>when the temperature</a:t>
            </a:r>
          </a:p>
          <a:p>
            <a:r>
              <a:rPr lang="en-US" altLang="ko-KR" sz="900" dirty="0">
                <a:solidFill>
                  <a:schemeClr val="bg1"/>
                </a:solidFill>
              </a:rPr>
              <a:t>reaches above 960</a:t>
            </a:r>
            <a:endParaRPr lang="ko-KR" altLang="en-US" sz="9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6548B5A-2E6E-43E0-A640-F40DB4A04D2E}"/>
              </a:ext>
            </a:extLst>
          </p:cNvPr>
          <p:cNvSpPr txBox="1"/>
          <p:nvPr/>
        </p:nvSpPr>
        <p:spPr>
          <a:xfrm>
            <a:off x="10462602" y="3860646"/>
            <a:ext cx="109579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>
                <a:solidFill>
                  <a:schemeClr val="bg1"/>
                </a:solidFill>
              </a:rPr>
              <a:t>Transition to next states with random noise</a:t>
            </a:r>
            <a:endParaRPr lang="ko-KR" alt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0209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: Reinforcement Lear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071958-48EE-41D8-8DF2-7CC7B4DD3135}"/>
              </a:ext>
            </a:extLst>
          </p:cNvPr>
          <p:cNvSpPr txBox="1"/>
          <p:nvPr/>
        </p:nvSpPr>
        <p:spPr>
          <a:xfrm>
            <a:off x="390985" y="1103586"/>
            <a:ext cx="5612524" cy="2257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/>
              <a:t>DQN Learning</a:t>
            </a:r>
            <a:endParaRPr lang="en-US" altLang="ko-KR" sz="1400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Reuse Cartpole scripts with a few parameter tunning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3,000 simulatio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Reward structure</a:t>
            </a:r>
            <a:br>
              <a:rPr lang="en-US" altLang="ko-KR" dirty="0"/>
            </a:br>
            <a:br>
              <a:rPr lang="en-US" altLang="ko-KR" dirty="0"/>
            </a:b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65B4F93-9636-4326-9C82-72220560AB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3151" y="2596630"/>
            <a:ext cx="3329480" cy="166474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A68685B2-FA14-405D-9B87-EC102315A6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96478" y="1054419"/>
            <a:ext cx="4248685" cy="548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6979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598" y="215946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ir-Gas Rat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114BF9-0E2F-4314-9012-1D01C101937F}"/>
              </a:ext>
            </a:extLst>
          </p:cNvPr>
          <p:cNvSpPr txBox="1"/>
          <p:nvPr/>
        </p:nvSpPr>
        <p:spPr>
          <a:xfrm>
            <a:off x="294555" y="880255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Performance</a:t>
            </a: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E62B3B5-EDA2-4C38-85F1-ADD74D64FB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598" y="1825060"/>
            <a:ext cx="3396578" cy="3926422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6958FA35-45DA-4D34-A56C-69F35E9063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53167" y="1825060"/>
            <a:ext cx="3065231" cy="3783725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0DA976EB-8463-447D-9F07-D7915ECE5F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00389" y="1825060"/>
            <a:ext cx="5058457" cy="368304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5F0AD8-22C3-4165-863B-0D034CBA19B5}"/>
              </a:ext>
            </a:extLst>
          </p:cNvPr>
          <p:cNvSpPr txBox="1"/>
          <p:nvPr/>
        </p:nvSpPr>
        <p:spPr>
          <a:xfrm>
            <a:off x="792994" y="5958304"/>
            <a:ext cx="17649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/>
              <a:t>Avg Reward = 0.75</a:t>
            </a:r>
            <a:endParaRPr lang="ko-KR" altLang="en-US" sz="1400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171C7A-45FB-4F39-92CC-DAE814CDD6FE}"/>
              </a:ext>
            </a:extLst>
          </p:cNvPr>
          <p:cNvSpPr txBox="1"/>
          <p:nvPr/>
        </p:nvSpPr>
        <p:spPr>
          <a:xfrm>
            <a:off x="4182604" y="5958303"/>
            <a:ext cx="17649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/>
              <a:t>Avg Reward = 0.41</a:t>
            </a:r>
            <a:endParaRPr lang="ko-KR" altLang="en-US" sz="14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A8731D-6A82-40C6-B82E-7635695E2270}"/>
              </a:ext>
            </a:extLst>
          </p:cNvPr>
          <p:cNvSpPr txBox="1"/>
          <p:nvPr/>
        </p:nvSpPr>
        <p:spPr>
          <a:xfrm>
            <a:off x="8009397" y="5928390"/>
            <a:ext cx="17649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/>
              <a:t>Avg Reward = 0.47</a:t>
            </a:r>
            <a:endParaRPr lang="ko-KR" altLang="en-US" sz="14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634B9D7-DDB9-43D9-BB7C-5E070E6522FF}"/>
              </a:ext>
            </a:extLst>
          </p:cNvPr>
          <p:cNvSpPr txBox="1"/>
          <p:nvPr/>
        </p:nvSpPr>
        <p:spPr>
          <a:xfrm>
            <a:off x="238771" y="1383776"/>
            <a:ext cx="30569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rgbClr val="0070C0"/>
                </a:solidFill>
              </a:rPr>
              <a:t>RL - Learned Actions (Simulation)</a:t>
            </a:r>
            <a:endParaRPr lang="ko-KR" altLang="en-US" sz="1400" b="1" dirty="0">
              <a:solidFill>
                <a:srgbClr val="0070C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3CC721-41DD-4E32-89D6-76F28253C942}"/>
              </a:ext>
            </a:extLst>
          </p:cNvPr>
          <p:cNvSpPr txBox="1"/>
          <p:nvPr/>
        </p:nvSpPr>
        <p:spPr>
          <a:xfrm>
            <a:off x="3892913" y="1390714"/>
            <a:ext cx="27331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rgbClr val="0070C0"/>
                </a:solidFill>
              </a:rPr>
              <a:t>Random Actions (Simulation)</a:t>
            </a:r>
            <a:endParaRPr lang="ko-KR" altLang="en-US" sz="1400" b="1" dirty="0">
              <a:solidFill>
                <a:srgbClr val="0070C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16F00E-6C28-411F-A61A-581D429D7690}"/>
              </a:ext>
            </a:extLst>
          </p:cNvPr>
          <p:cNvSpPr txBox="1"/>
          <p:nvPr/>
        </p:nvSpPr>
        <p:spPr>
          <a:xfrm>
            <a:off x="8299088" y="1360691"/>
            <a:ext cx="24141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rgbClr val="0070C0"/>
                </a:solidFill>
              </a:rPr>
              <a:t>Actual Actions (Real Data)</a:t>
            </a:r>
            <a:endParaRPr lang="ko-KR" altLang="en-US" sz="1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5390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838" y="287447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Appendi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396830-F8F0-4F2D-8421-28BF916B1832}"/>
              </a:ext>
            </a:extLst>
          </p:cNvPr>
          <p:cNvSpPr txBox="1"/>
          <p:nvPr/>
        </p:nvSpPr>
        <p:spPr>
          <a:xfrm>
            <a:off x="6499027" y="6570553"/>
            <a:ext cx="60971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dirty="0"/>
              <a:t>https://towardsdatascience.com/welcome-to-deep-reinforcement-learning-part-1-dqn-c3cab4d41b6b</a:t>
            </a:r>
            <a:endParaRPr lang="ko-KR" altLang="en-US" sz="900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1623C5FE-C519-4505-B015-95F8DD195F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4179" y="1005352"/>
            <a:ext cx="3689794" cy="556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46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CONT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114BF9-0E2F-4314-9012-1D01C101937F}"/>
              </a:ext>
            </a:extLst>
          </p:cNvPr>
          <p:cNvSpPr txBox="1"/>
          <p:nvPr/>
        </p:nvSpPr>
        <p:spPr>
          <a:xfrm>
            <a:off x="649539" y="1248629"/>
            <a:ext cx="5283369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dirty="0"/>
              <a:t>Supervised vs. Reinforcement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dirty="0"/>
              <a:t>RL - Model based vs. Model Fre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dirty="0"/>
              <a:t>Perceptron Using </a:t>
            </a:r>
            <a:r>
              <a:rPr lang="en-US" altLang="ko-KR" sz="2000" dirty="0" err="1"/>
              <a:t>Pytorch</a:t>
            </a:r>
            <a:endParaRPr lang="en-US" altLang="ko-KR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dirty="0"/>
              <a:t>Cartpole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dirty="0"/>
              <a:t>Use Test Case – Air/Gas Ratio Automation</a:t>
            </a: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060147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Supervised Learning vs. Reinforcement learning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3CE235A-1122-48AE-912A-A814757DAA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973" y="2321352"/>
            <a:ext cx="10893142" cy="344949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E643F6-2974-433A-BA2C-2CB6459E6ACD}"/>
              </a:ext>
            </a:extLst>
          </p:cNvPr>
          <p:cNvSpPr txBox="1"/>
          <p:nvPr/>
        </p:nvSpPr>
        <p:spPr>
          <a:xfrm>
            <a:off x="646853" y="1463606"/>
            <a:ext cx="110336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>
                <a:latin typeface="Calibri" panose="020F0502020204030204" pitchFamily="34" charset="0"/>
                <a:cs typeface="Calibri" panose="020F0502020204030204" pitchFamily="34" charset="0"/>
              </a:rPr>
              <a:t>Reinforcement learning makes sequential decisions to maximize total rewards to come.</a:t>
            </a:r>
            <a:endParaRPr lang="ko-KR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494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>
            <a:extLst>
              <a:ext uri="{FF2B5EF4-FFF2-40B4-BE49-F238E27FC236}">
                <a16:creationId xmlns:a16="http://schemas.microsoft.com/office/drawing/2014/main" id="{C7B1362F-C96B-4F8B-9A86-7C8E0759AE5F}"/>
              </a:ext>
            </a:extLst>
          </p:cNvPr>
          <p:cNvSpPr/>
          <p:nvPr/>
        </p:nvSpPr>
        <p:spPr>
          <a:xfrm>
            <a:off x="8003112" y="3508791"/>
            <a:ext cx="1658357" cy="56105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401D3BD-7B88-44B3-9D71-98BC51CA69E9}"/>
              </a:ext>
            </a:extLst>
          </p:cNvPr>
          <p:cNvSpPr/>
          <p:nvPr/>
        </p:nvSpPr>
        <p:spPr>
          <a:xfrm>
            <a:off x="2093661" y="3556701"/>
            <a:ext cx="1658357" cy="56105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Model based vs. Model Fre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25E32B-0417-4083-B3C7-7E1FFF61AD7A}"/>
              </a:ext>
            </a:extLst>
          </p:cNvPr>
          <p:cNvSpPr txBox="1"/>
          <p:nvPr/>
        </p:nvSpPr>
        <p:spPr>
          <a:xfrm>
            <a:off x="4342690" y="1255771"/>
            <a:ext cx="3031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Sequential Decision Making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15ACCA-A7A3-4E97-9045-4F4A83E55CDC}"/>
              </a:ext>
            </a:extLst>
          </p:cNvPr>
          <p:cNvSpPr txBox="1"/>
          <p:nvPr/>
        </p:nvSpPr>
        <p:spPr>
          <a:xfrm>
            <a:off x="4099034" y="2238450"/>
            <a:ext cx="35189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Markov Decision Process (MDP)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B9C73A-AEDD-4C60-B076-BBDA2CC0FE0E}"/>
              </a:ext>
            </a:extLst>
          </p:cNvPr>
          <p:cNvSpPr txBox="1"/>
          <p:nvPr/>
        </p:nvSpPr>
        <p:spPr>
          <a:xfrm>
            <a:off x="2157245" y="3672389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Model Based</a:t>
            </a:r>
            <a:endParaRPr lang="ko-KR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40E4C1-3617-4456-9FF6-82DD58F35DBD}"/>
              </a:ext>
            </a:extLst>
          </p:cNvPr>
          <p:cNvSpPr txBox="1"/>
          <p:nvPr/>
        </p:nvSpPr>
        <p:spPr>
          <a:xfrm>
            <a:off x="8177061" y="3603086"/>
            <a:ext cx="135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Model Free</a:t>
            </a:r>
            <a:endParaRPr lang="ko-KR" altLang="en-US" dirty="0"/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D9FF56EC-917F-4C80-80BA-063E1E5C8692}"/>
              </a:ext>
            </a:extLst>
          </p:cNvPr>
          <p:cNvCxnSpPr>
            <a:cxnSpLocks/>
            <a:stCxn id="24" idx="2"/>
          </p:cNvCxnSpPr>
          <p:nvPr/>
        </p:nvCxnSpPr>
        <p:spPr>
          <a:xfrm flipH="1">
            <a:off x="3424272" y="2679146"/>
            <a:ext cx="2405904" cy="82964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264A3690-8CFB-4E94-8962-A33285BEF049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5830176" y="2679146"/>
            <a:ext cx="2563385" cy="7498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FFE803F-23FD-4222-8CB5-51DCF39AC370}"/>
              </a:ext>
            </a:extLst>
          </p:cNvPr>
          <p:cNvSpPr txBox="1"/>
          <p:nvPr/>
        </p:nvSpPr>
        <p:spPr>
          <a:xfrm>
            <a:off x="2114792" y="3016348"/>
            <a:ext cx="14397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i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 transitions</a:t>
            </a:r>
            <a:endParaRPr lang="ko-KR" altLang="en-US" sz="1400" b="1" i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22DE90-3D34-46F7-9303-1A2488AC6E43}"/>
              </a:ext>
            </a:extLst>
          </p:cNvPr>
          <p:cNvSpPr txBox="1"/>
          <p:nvPr/>
        </p:nvSpPr>
        <p:spPr>
          <a:xfrm>
            <a:off x="7964629" y="2961770"/>
            <a:ext cx="1921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i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n’t know transitions </a:t>
            </a:r>
            <a:endParaRPr lang="ko-KR" altLang="en-US" sz="1400" b="1" i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D30350C9-1388-46D1-B7E4-7BFABF2B2F4C}"/>
              </a:ext>
            </a:extLst>
          </p:cNvPr>
          <p:cNvCxnSpPr>
            <a:cxnSpLocks/>
          </p:cNvCxnSpPr>
          <p:nvPr/>
        </p:nvCxnSpPr>
        <p:spPr>
          <a:xfrm>
            <a:off x="2986430" y="4117759"/>
            <a:ext cx="0" cy="47421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BE710477-3D33-4223-BB39-F9211084B1AA}"/>
              </a:ext>
            </a:extLst>
          </p:cNvPr>
          <p:cNvCxnSpPr/>
          <p:nvPr/>
        </p:nvCxnSpPr>
        <p:spPr>
          <a:xfrm>
            <a:off x="8832291" y="4117759"/>
            <a:ext cx="0" cy="47421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5B5956E4-4ED7-4818-87B1-A430E348E017}"/>
              </a:ext>
            </a:extLst>
          </p:cNvPr>
          <p:cNvSpPr/>
          <p:nvPr/>
        </p:nvSpPr>
        <p:spPr>
          <a:xfrm>
            <a:off x="3947861" y="2118088"/>
            <a:ext cx="3764630" cy="5610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E189D494-89AE-4377-ACCF-0AD6A0DD05EC}"/>
              </a:ext>
            </a:extLst>
          </p:cNvPr>
          <p:cNvSpPr/>
          <p:nvPr/>
        </p:nvSpPr>
        <p:spPr>
          <a:xfrm>
            <a:off x="3947861" y="1178977"/>
            <a:ext cx="3764630" cy="5610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57152F80-EBF1-4952-BECA-53FB29F47299}"/>
              </a:ext>
            </a:extLst>
          </p:cNvPr>
          <p:cNvCxnSpPr>
            <a:stCxn id="27" idx="2"/>
            <a:endCxn id="24" idx="0"/>
          </p:cNvCxnSpPr>
          <p:nvPr/>
        </p:nvCxnSpPr>
        <p:spPr>
          <a:xfrm>
            <a:off x="5830176" y="1740035"/>
            <a:ext cx="0" cy="378053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553E9999-75FE-4763-944D-E6AC841512B4}"/>
              </a:ext>
            </a:extLst>
          </p:cNvPr>
          <p:cNvSpPr txBox="1"/>
          <p:nvPr/>
        </p:nvSpPr>
        <p:spPr>
          <a:xfrm>
            <a:off x="527779" y="5618831"/>
            <a:ext cx="15440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dirty="0"/>
              <a:t>Dynamic </a:t>
            </a:r>
          </a:p>
          <a:p>
            <a:pPr algn="ctr"/>
            <a:r>
              <a:rPr lang="en-US" altLang="ko-KR" dirty="0"/>
              <a:t>programming</a:t>
            </a:r>
            <a:endParaRPr lang="ko-KR" alt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30B9587-C7CD-43B0-80B4-D7310B4C15B3}"/>
              </a:ext>
            </a:extLst>
          </p:cNvPr>
          <p:cNvSpPr txBox="1"/>
          <p:nvPr/>
        </p:nvSpPr>
        <p:spPr>
          <a:xfrm>
            <a:off x="3029192" y="5895830"/>
            <a:ext cx="1445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dirty="0"/>
              <a:t>Tree Search</a:t>
            </a:r>
            <a:endParaRPr lang="ko-KR" alt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111B471-D66F-487D-8298-1BEC712D31FD}"/>
              </a:ext>
            </a:extLst>
          </p:cNvPr>
          <p:cNvSpPr txBox="1"/>
          <p:nvPr/>
        </p:nvSpPr>
        <p:spPr>
          <a:xfrm>
            <a:off x="2381665" y="4748256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Planning</a:t>
            </a:r>
            <a:endParaRPr lang="ko-KR" altLang="en-US" dirty="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81181E48-9F65-4A84-81F2-365793DACF6E}"/>
              </a:ext>
            </a:extLst>
          </p:cNvPr>
          <p:cNvSpPr/>
          <p:nvPr/>
        </p:nvSpPr>
        <p:spPr>
          <a:xfrm>
            <a:off x="2093661" y="4656208"/>
            <a:ext cx="1658357" cy="5610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0C6C45-39F0-49D7-9ADA-EF246E5DCA89}"/>
              </a:ext>
            </a:extLst>
          </p:cNvPr>
          <p:cNvSpPr txBox="1"/>
          <p:nvPr/>
        </p:nvSpPr>
        <p:spPr>
          <a:xfrm>
            <a:off x="7503400" y="4691981"/>
            <a:ext cx="2710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Reinforcement Learning </a:t>
            </a:r>
            <a:endParaRPr lang="ko-KR" altLang="en-US" dirty="0"/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022D911B-7060-490F-B426-998411E4FF15}"/>
              </a:ext>
            </a:extLst>
          </p:cNvPr>
          <p:cNvSpPr/>
          <p:nvPr/>
        </p:nvSpPr>
        <p:spPr>
          <a:xfrm>
            <a:off x="7336219" y="4605344"/>
            <a:ext cx="3045362" cy="5610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4248369-5ECD-4DDC-9B84-34C31FF31E03}"/>
              </a:ext>
            </a:extLst>
          </p:cNvPr>
          <p:cNvSpPr txBox="1"/>
          <p:nvPr/>
        </p:nvSpPr>
        <p:spPr>
          <a:xfrm>
            <a:off x="7238656" y="5718338"/>
            <a:ext cx="8258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dirty="0"/>
              <a:t>Monte</a:t>
            </a:r>
          </a:p>
          <a:p>
            <a:pPr algn="ctr"/>
            <a:r>
              <a:rPr lang="en-US" altLang="ko-KR" dirty="0"/>
              <a:t>Carlo</a:t>
            </a:r>
            <a:endParaRPr lang="ko-KR" alt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D17616B-3F61-4CFC-BB4A-2095B483F434}"/>
              </a:ext>
            </a:extLst>
          </p:cNvPr>
          <p:cNvSpPr txBox="1"/>
          <p:nvPr/>
        </p:nvSpPr>
        <p:spPr>
          <a:xfrm>
            <a:off x="9162808" y="5768314"/>
            <a:ext cx="18775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dirty="0"/>
              <a:t>Time-Difference </a:t>
            </a:r>
          </a:p>
          <a:p>
            <a:pPr algn="ctr"/>
            <a:r>
              <a:rPr lang="en-US" altLang="ko-KR" dirty="0"/>
              <a:t>Learning</a:t>
            </a:r>
            <a:endParaRPr lang="ko-KR" altLang="en-US" dirty="0"/>
          </a:p>
        </p:txBody>
      </p:sp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60A4A2B8-6885-4AB0-8797-321DDCD6E0E2}"/>
              </a:ext>
            </a:extLst>
          </p:cNvPr>
          <p:cNvCxnSpPr>
            <a:stCxn id="34" idx="2"/>
          </p:cNvCxnSpPr>
          <p:nvPr/>
        </p:nvCxnSpPr>
        <p:spPr>
          <a:xfrm flipH="1">
            <a:off x="1910781" y="5217266"/>
            <a:ext cx="1012059" cy="40156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4D288444-2CE5-4B68-871B-42DA487C8278}"/>
              </a:ext>
            </a:extLst>
          </p:cNvPr>
          <p:cNvCxnSpPr>
            <a:cxnSpLocks/>
            <a:stCxn id="34" idx="2"/>
          </p:cNvCxnSpPr>
          <p:nvPr/>
        </p:nvCxnSpPr>
        <p:spPr>
          <a:xfrm>
            <a:off x="2922840" y="5217266"/>
            <a:ext cx="829178" cy="493142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C812E934-C047-4FEE-8FEA-A7E4799707AA}"/>
              </a:ext>
            </a:extLst>
          </p:cNvPr>
          <p:cNvCxnSpPr>
            <a:cxnSpLocks/>
          </p:cNvCxnSpPr>
          <p:nvPr/>
        </p:nvCxnSpPr>
        <p:spPr>
          <a:xfrm flipH="1">
            <a:off x="7958433" y="5166245"/>
            <a:ext cx="927434" cy="452586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DC24404C-5A9F-4543-AC20-1E9492F1DF9F}"/>
              </a:ext>
            </a:extLst>
          </p:cNvPr>
          <p:cNvCxnSpPr>
            <a:cxnSpLocks/>
          </p:cNvCxnSpPr>
          <p:nvPr/>
        </p:nvCxnSpPr>
        <p:spPr>
          <a:xfrm>
            <a:off x="8885866" y="5166245"/>
            <a:ext cx="829178" cy="493142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A108AA30-307C-40F6-88DB-98FD63F21507}"/>
              </a:ext>
            </a:extLst>
          </p:cNvPr>
          <p:cNvSpPr txBox="1"/>
          <p:nvPr/>
        </p:nvSpPr>
        <p:spPr>
          <a:xfrm>
            <a:off x="9418612" y="4237137"/>
            <a:ext cx="19591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 from sampling </a:t>
            </a:r>
            <a:endParaRPr lang="ko-KR" altLang="en-US" sz="1400" b="1" i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BCF456-D26C-4BC5-845F-A77B13E9FBFD}"/>
              </a:ext>
            </a:extLst>
          </p:cNvPr>
          <p:cNvSpPr txBox="1"/>
          <p:nvPr/>
        </p:nvSpPr>
        <p:spPr>
          <a:xfrm>
            <a:off x="446554" y="4270949"/>
            <a:ext cx="1954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 from iterations</a:t>
            </a:r>
            <a:endParaRPr lang="ko-KR" altLang="en-US" sz="1400" b="1" i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C0F2081-826E-4A39-8B79-FE4A37B8C7DF}"/>
              </a:ext>
            </a:extLst>
          </p:cNvPr>
          <p:cNvSpPr txBox="1"/>
          <p:nvPr/>
        </p:nvSpPr>
        <p:spPr>
          <a:xfrm>
            <a:off x="322032" y="6315359"/>
            <a:ext cx="25489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i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altLang="ko-KR" sz="1400" b="1" i="1" dirty="0" err="1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.g</a:t>
            </a:r>
            <a:r>
              <a:rPr lang="en-US" altLang="ko-KR" sz="1400" b="1" i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Chiraq’s inventory solution</a:t>
            </a:r>
            <a:endParaRPr lang="ko-KR" altLang="en-US" sz="1400" b="1" i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178F03A-EBBF-48E3-B05C-C5AFF4474104}"/>
              </a:ext>
            </a:extLst>
          </p:cNvPr>
          <p:cNvSpPr txBox="1"/>
          <p:nvPr/>
        </p:nvSpPr>
        <p:spPr>
          <a:xfrm>
            <a:off x="9277764" y="6414645"/>
            <a:ext cx="19227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i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QN (Deep Q Network)</a:t>
            </a:r>
            <a:endParaRPr lang="ko-KR" altLang="en-US" sz="1400" b="1" i="1" dirty="0">
              <a:solidFill>
                <a:schemeClr val="accent5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8094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 err="1"/>
              <a:t>Pytorch</a:t>
            </a:r>
            <a:endParaRPr 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873A5BA-E0C8-44CB-984A-015D64296A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1283" y="1676131"/>
            <a:ext cx="7856508" cy="350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923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841FEC48-8E40-4998-9710-E4151786E4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1900" y="1815649"/>
            <a:ext cx="3368040" cy="385572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 err="1"/>
              <a:t>Pytorch</a:t>
            </a:r>
            <a:r>
              <a:rPr lang="en-US" dirty="0"/>
              <a:t> Coded Perceptron (1/2)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33A16F06-01DF-4C3B-AA9E-37EDDD0C49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966" y="2431712"/>
            <a:ext cx="5360136" cy="218190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D2E53B7-E059-4A7C-BCC7-CA2450C329A9}"/>
              </a:ext>
            </a:extLst>
          </p:cNvPr>
          <p:cNvSpPr txBox="1"/>
          <p:nvPr/>
        </p:nvSpPr>
        <p:spPr>
          <a:xfrm>
            <a:off x="7125811" y="3581441"/>
            <a:ext cx="18260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accent3"/>
                </a:solidFill>
              </a:rPr>
              <a:t>Y = F(x1, x2, x3, x4)</a:t>
            </a:r>
            <a:endParaRPr lang="ko-KR" altLang="en-US" sz="1400" b="1" dirty="0">
              <a:solidFill>
                <a:schemeClr val="accent3"/>
              </a:solidFill>
            </a:endParaRPr>
          </a:p>
        </p:txBody>
      </p:sp>
      <p:cxnSp>
        <p:nvCxnSpPr>
          <p:cNvPr id="19" name="연결선: 구부러짐 18">
            <a:extLst>
              <a:ext uri="{FF2B5EF4-FFF2-40B4-BE49-F238E27FC236}">
                <a16:creationId xmlns:a16="http://schemas.microsoft.com/office/drawing/2014/main" id="{270FCAC0-3013-40D9-89A2-7BCBA7CE62B2}"/>
              </a:ext>
            </a:extLst>
          </p:cNvPr>
          <p:cNvCxnSpPr>
            <a:cxnSpLocks/>
          </p:cNvCxnSpPr>
          <p:nvPr/>
        </p:nvCxnSpPr>
        <p:spPr>
          <a:xfrm rot="16200000" flipV="1">
            <a:off x="7693815" y="4267936"/>
            <a:ext cx="549112" cy="3"/>
          </a:xfrm>
          <a:prstGeom prst="curved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연결선: 구부러짐 19">
            <a:extLst>
              <a:ext uri="{FF2B5EF4-FFF2-40B4-BE49-F238E27FC236}">
                <a16:creationId xmlns:a16="http://schemas.microsoft.com/office/drawing/2014/main" id="{530DF488-295D-4D5B-A0EF-6C6EEB90FA52}"/>
              </a:ext>
            </a:extLst>
          </p:cNvPr>
          <p:cNvCxnSpPr>
            <a:cxnSpLocks/>
          </p:cNvCxnSpPr>
          <p:nvPr/>
        </p:nvCxnSpPr>
        <p:spPr>
          <a:xfrm rot="16200000" flipV="1">
            <a:off x="7636678" y="3132302"/>
            <a:ext cx="689232" cy="18921"/>
          </a:xfrm>
          <a:prstGeom prst="curved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EE48EC9-7F7C-488C-B988-F420E4D306D4}"/>
              </a:ext>
            </a:extLst>
          </p:cNvPr>
          <p:cNvSpPr txBox="1"/>
          <p:nvPr/>
        </p:nvSpPr>
        <p:spPr>
          <a:xfrm>
            <a:off x="9956924" y="4920393"/>
            <a:ext cx="89479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/>
              <a:t>Matrix (5,4)</a:t>
            </a:r>
            <a:endParaRPr lang="ko-KR" altLang="en-US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EFF156-5C15-4978-A5AD-5AE5AE161243}"/>
              </a:ext>
            </a:extLst>
          </p:cNvPr>
          <p:cNvSpPr txBox="1"/>
          <p:nvPr/>
        </p:nvSpPr>
        <p:spPr>
          <a:xfrm>
            <a:off x="9781402" y="1876219"/>
            <a:ext cx="89479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/>
              <a:t>Matrix (5,1)</a:t>
            </a:r>
            <a:endParaRPr lang="ko-KR" altLang="en-US" sz="1100" dirty="0"/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81B769EC-634E-41BF-B301-31C5A56B767F}"/>
              </a:ext>
            </a:extLst>
          </p:cNvPr>
          <p:cNvGrpSpPr/>
          <p:nvPr/>
        </p:nvGrpSpPr>
        <p:grpSpPr>
          <a:xfrm>
            <a:off x="9706066" y="3392715"/>
            <a:ext cx="1122419" cy="701589"/>
            <a:chOff x="9904234" y="3429000"/>
            <a:chExt cx="1122419" cy="701589"/>
          </a:xfrm>
        </p:grpSpPr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9E0334A4-CF2E-497C-ABA4-5D2C037B49E1}"/>
                </a:ext>
              </a:extLst>
            </p:cNvPr>
            <p:cNvSpPr/>
            <p:nvPr/>
          </p:nvSpPr>
          <p:spPr>
            <a:xfrm>
              <a:off x="9904234" y="3429000"/>
              <a:ext cx="1122419" cy="70158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F8D322D-0EE4-411E-98AF-C5E5113404A3}"/>
                </a:ext>
              </a:extLst>
            </p:cNvPr>
            <p:cNvSpPr txBox="1"/>
            <p:nvPr/>
          </p:nvSpPr>
          <p:spPr>
            <a:xfrm>
              <a:off x="10038263" y="3522664"/>
              <a:ext cx="89479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/>
                <a:t>Matrix (2,1)</a:t>
              </a:r>
              <a:endParaRPr lang="ko-KR" altLang="en-US" sz="1100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80F4E0E-2C61-4333-BF9F-C441C592C0CA}"/>
                </a:ext>
              </a:extLst>
            </p:cNvPr>
            <p:cNvSpPr txBox="1"/>
            <p:nvPr/>
          </p:nvSpPr>
          <p:spPr>
            <a:xfrm>
              <a:off x="10038264" y="3782233"/>
              <a:ext cx="89479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/>
                <a:t>Matrix (4,2)</a:t>
              </a:r>
              <a:endParaRPr lang="ko-KR" altLang="en-US" sz="1100" dirty="0"/>
            </a:p>
          </p:txBody>
        </p:sp>
      </p:grpSp>
      <p:cxnSp>
        <p:nvCxnSpPr>
          <p:cNvPr id="26" name="연결선: 구부러짐 25">
            <a:extLst>
              <a:ext uri="{FF2B5EF4-FFF2-40B4-BE49-F238E27FC236}">
                <a16:creationId xmlns:a16="http://schemas.microsoft.com/office/drawing/2014/main" id="{6D19DC85-78E0-4808-83F4-0FACD6BE7573}"/>
              </a:ext>
            </a:extLst>
          </p:cNvPr>
          <p:cNvCxnSpPr>
            <a:cxnSpLocks/>
          </p:cNvCxnSpPr>
          <p:nvPr/>
        </p:nvCxnSpPr>
        <p:spPr>
          <a:xfrm rot="16200000" flipV="1">
            <a:off x="9942877" y="2696587"/>
            <a:ext cx="689232" cy="18921"/>
          </a:xfrm>
          <a:prstGeom prst="curved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연결선: 구부러짐 26">
            <a:extLst>
              <a:ext uri="{FF2B5EF4-FFF2-40B4-BE49-F238E27FC236}">
                <a16:creationId xmlns:a16="http://schemas.microsoft.com/office/drawing/2014/main" id="{23FDE887-D090-48E8-87C3-3B9EBE8950DB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021796" y="4478958"/>
            <a:ext cx="579444" cy="3"/>
          </a:xfrm>
          <a:prstGeom prst="curved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AF66994-AB7D-4B38-9645-E634459011B4}"/>
              </a:ext>
            </a:extLst>
          </p:cNvPr>
          <p:cNvSpPr txBox="1"/>
          <p:nvPr/>
        </p:nvSpPr>
        <p:spPr>
          <a:xfrm>
            <a:off x="7294806" y="581313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X1</a:t>
            </a:r>
            <a:endParaRPr lang="ko-KR" altLang="en-US" sz="12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FBDF38-2157-4E21-8595-C4A254AB29DB}"/>
              </a:ext>
            </a:extLst>
          </p:cNvPr>
          <p:cNvSpPr txBox="1"/>
          <p:nvPr/>
        </p:nvSpPr>
        <p:spPr>
          <a:xfrm>
            <a:off x="7990755" y="581313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X2</a:t>
            </a:r>
            <a:endParaRPr lang="ko-KR" altLang="en-US" sz="12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2D91CB7-1557-47D0-8E6A-8AC1CCB95F17}"/>
              </a:ext>
            </a:extLst>
          </p:cNvPr>
          <p:cNvSpPr txBox="1"/>
          <p:nvPr/>
        </p:nvSpPr>
        <p:spPr>
          <a:xfrm>
            <a:off x="8686704" y="581313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X3</a:t>
            </a:r>
            <a:endParaRPr lang="ko-KR" altLang="en-US" sz="12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20A01E7-407E-42E5-8A3A-A0ED581D955A}"/>
              </a:ext>
            </a:extLst>
          </p:cNvPr>
          <p:cNvSpPr txBox="1"/>
          <p:nvPr/>
        </p:nvSpPr>
        <p:spPr>
          <a:xfrm>
            <a:off x="9382653" y="5813133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X4</a:t>
            </a:r>
            <a:endParaRPr lang="ko-KR" altLang="en-US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6DBC0A8-E775-4B2B-8F11-A9F8CF5BE794}"/>
              </a:ext>
            </a:extLst>
          </p:cNvPr>
          <p:cNvSpPr txBox="1"/>
          <p:nvPr/>
        </p:nvSpPr>
        <p:spPr>
          <a:xfrm>
            <a:off x="10871409" y="3630532"/>
            <a:ext cx="11224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/>
              <a:t>Neural Network</a:t>
            </a:r>
            <a:endParaRPr lang="ko-KR" altLang="en-US" sz="1000" b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34627DF-B69A-4C39-BC7A-C8F0ED7CC224}"/>
              </a:ext>
            </a:extLst>
          </p:cNvPr>
          <p:cNvSpPr txBox="1"/>
          <p:nvPr/>
        </p:nvSpPr>
        <p:spPr>
          <a:xfrm>
            <a:off x="7874014" y="1441287"/>
            <a:ext cx="287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Y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8442716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 err="1"/>
              <a:t>Pytorch</a:t>
            </a:r>
            <a:r>
              <a:rPr lang="en-US" dirty="0"/>
              <a:t> Coded Perceptron (2/2)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E11EB929-6365-4C2C-A764-880DA9523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8539" y="1135116"/>
            <a:ext cx="5013685" cy="541065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F8E9EB9-9724-4440-B4BE-8EBB076027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001" y="3841706"/>
            <a:ext cx="3659269" cy="2504417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013B3018-962C-4031-9862-E526382AC5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2001" y="1902109"/>
            <a:ext cx="4190986" cy="113050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2C97100-6832-4276-9352-2260F23737C3}"/>
              </a:ext>
            </a:extLst>
          </p:cNvPr>
          <p:cNvSpPr txBox="1"/>
          <p:nvPr/>
        </p:nvSpPr>
        <p:spPr>
          <a:xfrm>
            <a:off x="312632" y="1517660"/>
            <a:ext cx="930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Stacking</a:t>
            </a:r>
            <a:endParaRPr lang="ko-KR" altLang="en-US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3C2CF2-EC03-4C01-B0D3-F2C5E3EEA6FA}"/>
              </a:ext>
            </a:extLst>
          </p:cNvPr>
          <p:cNvSpPr txBox="1"/>
          <p:nvPr/>
        </p:nvSpPr>
        <p:spPr>
          <a:xfrm>
            <a:off x="300776" y="3382030"/>
            <a:ext cx="1087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Functional</a:t>
            </a:r>
            <a:endParaRPr lang="ko-KR" altLang="en-US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51A940-A136-4880-8446-F78B152D5A96}"/>
              </a:ext>
            </a:extLst>
          </p:cNvPr>
          <p:cNvSpPr txBox="1"/>
          <p:nvPr/>
        </p:nvSpPr>
        <p:spPr>
          <a:xfrm>
            <a:off x="6578917" y="794967"/>
            <a:ext cx="27991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Gradient Descent Optimization</a:t>
            </a:r>
            <a:endParaRPr lang="ko-KR" altLang="en-US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6E11A697-67EE-491A-8174-49EDA7CBA8AC}"/>
              </a:ext>
            </a:extLst>
          </p:cNvPr>
          <p:cNvGrpSpPr/>
          <p:nvPr/>
        </p:nvGrpSpPr>
        <p:grpSpPr>
          <a:xfrm>
            <a:off x="2210338" y="1053516"/>
            <a:ext cx="1156853" cy="618032"/>
            <a:chOff x="9904235" y="3449026"/>
            <a:chExt cx="1122419" cy="701589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0210E89F-C0FE-4EA3-85F7-2ED70B4016FA}"/>
                </a:ext>
              </a:extLst>
            </p:cNvPr>
            <p:cNvSpPr/>
            <p:nvPr/>
          </p:nvSpPr>
          <p:spPr>
            <a:xfrm>
              <a:off x="9904235" y="3449026"/>
              <a:ext cx="1122419" cy="70158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30AF5D5-28DC-4B35-AD6C-41CF64EE33B3}"/>
                </a:ext>
              </a:extLst>
            </p:cNvPr>
            <p:cNvSpPr txBox="1"/>
            <p:nvPr/>
          </p:nvSpPr>
          <p:spPr>
            <a:xfrm>
              <a:off x="10038262" y="3522664"/>
              <a:ext cx="897713" cy="2969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b="1" dirty="0"/>
                <a:t>Matrix (2,1)</a:t>
              </a:r>
              <a:endParaRPr lang="ko-KR" altLang="en-US" sz="1100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042757E-931E-447B-A7E5-A9EC223150E5}"/>
                </a:ext>
              </a:extLst>
            </p:cNvPr>
            <p:cNvSpPr txBox="1"/>
            <p:nvPr/>
          </p:nvSpPr>
          <p:spPr>
            <a:xfrm>
              <a:off x="10038264" y="3782233"/>
              <a:ext cx="897713" cy="2969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b="1" dirty="0"/>
                <a:t>Matrix (4,2)</a:t>
              </a:r>
              <a:endParaRPr lang="ko-KR" altLang="en-US" sz="1100" b="1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F250A71-3670-4838-B5C8-93BFB6529C48}"/>
              </a:ext>
            </a:extLst>
          </p:cNvPr>
          <p:cNvSpPr txBox="1"/>
          <p:nvPr/>
        </p:nvSpPr>
        <p:spPr>
          <a:xfrm>
            <a:off x="10624761" y="2161125"/>
            <a:ext cx="105028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>
                <a:solidFill>
                  <a:schemeClr val="bg1">
                    <a:lumMod val="95000"/>
                  </a:schemeClr>
                </a:solidFill>
              </a:rPr>
              <a:t>Backpropagation</a:t>
            </a:r>
            <a:endParaRPr lang="ko-KR" altLang="en-US" sz="9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F716229C-0E45-4263-B1D2-22A1835B37A3}"/>
              </a:ext>
            </a:extLst>
          </p:cNvPr>
          <p:cNvCxnSpPr>
            <a:cxnSpLocks/>
          </p:cNvCxnSpPr>
          <p:nvPr/>
        </p:nvCxnSpPr>
        <p:spPr>
          <a:xfrm flipH="1">
            <a:off x="8298969" y="2276541"/>
            <a:ext cx="2257621" cy="0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C483285-8D7A-46E6-BB10-5B9BDBF4B804}"/>
              </a:ext>
            </a:extLst>
          </p:cNvPr>
          <p:cNvSpPr txBox="1"/>
          <p:nvPr/>
        </p:nvSpPr>
        <p:spPr>
          <a:xfrm>
            <a:off x="10618454" y="2347815"/>
            <a:ext cx="104387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>
                <a:solidFill>
                  <a:schemeClr val="bg1">
                    <a:lumMod val="95000"/>
                  </a:schemeClr>
                </a:solidFill>
              </a:rPr>
              <a:t>Update weights </a:t>
            </a:r>
            <a:endParaRPr lang="ko-KR" altLang="en-US" sz="9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722E29EC-A433-4267-B307-C87FB3A7B4BC}"/>
              </a:ext>
            </a:extLst>
          </p:cNvPr>
          <p:cNvCxnSpPr>
            <a:cxnSpLocks/>
          </p:cNvCxnSpPr>
          <p:nvPr/>
        </p:nvCxnSpPr>
        <p:spPr>
          <a:xfrm flipH="1">
            <a:off x="8344164" y="2450619"/>
            <a:ext cx="2212426" cy="0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63133904-1751-48DD-AD22-5B1CCBDB464B}"/>
              </a:ext>
            </a:extLst>
          </p:cNvPr>
          <p:cNvCxnSpPr>
            <a:cxnSpLocks/>
          </p:cNvCxnSpPr>
          <p:nvPr/>
        </p:nvCxnSpPr>
        <p:spPr>
          <a:xfrm>
            <a:off x="772001" y="2670628"/>
            <a:ext cx="413382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8B231377-A0CE-489D-A703-25A398165E4E}"/>
              </a:ext>
            </a:extLst>
          </p:cNvPr>
          <p:cNvCxnSpPr>
            <a:cxnSpLocks/>
          </p:cNvCxnSpPr>
          <p:nvPr/>
        </p:nvCxnSpPr>
        <p:spPr>
          <a:xfrm>
            <a:off x="772001" y="5965370"/>
            <a:ext cx="104954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7EE65F26-2836-4E54-81CF-C10F0BAEE4BE}"/>
              </a:ext>
            </a:extLst>
          </p:cNvPr>
          <p:cNvCxnSpPr>
            <a:cxnSpLocks/>
          </p:cNvCxnSpPr>
          <p:nvPr/>
        </p:nvCxnSpPr>
        <p:spPr>
          <a:xfrm>
            <a:off x="7165544" y="1902109"/>
            <a:ext cx="117862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777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10" y="224441"/>
            <a:ext cx="9717024" cy="314028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Cartpole Probl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624CD4-2EE8-4DC5-AE44-53C3FB9BD123}"/>
              </a:ext>
            </a:extLst>
          </p:cNvPr>
          <p:cNvSpPr txBox="1"/>
          <p:nvPr/>
        </p:nvSpPr>
        <p:spPr>
          <a:xfrm>
            <a:off x="3992584" y="1172205"/>
            <a:ext cx="521809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Calibri" panose="020F0502020204030204" pitchFamily="34" charset="0"/>
                <a:cs typeface="Calibri" panose="020F0502020204030204" pitchFamily="34" charset="0"/>
              </a:rPr>
              <a:t>4 states to represent the current observation:</a:t>
            </a:r>
          </a:p>
          <a:p>
            <a:pPr lvl="1"/>
            <a:endParaRPr lang="en-US" altLang="ko-K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ko-KR" altLang="en-US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35A9AD-8485-46A2-812A-B67F36E5FD65}"/>
              </a:ext>
            </a:extLst>
          </p:cNvPr>
          <p:cNvSpPr txBox="1"/>
          <p:nvPr/>
        </p:nvSpPr>
        <p:spPr>
          <a:xfrm>
            <a:off x="361031" y="1000900"/>
            <a:ext cx="609494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hlinkClick r:id="rId7"/>
              </a:rPr>
              <a:t>https://youtu.be/XiigTGKZfks</a:t>
            </a:r>
            <a:endParaRPr lang="ko-KR" altLang="en-US" sz="11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D87450E-94A0-4EBA-BF57-4BC6A3140D5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397" y="1490494"/>
            <a:ext cx="2379424" cy="237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F3957128-C0E9-4D3B-8C79-A46F131858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3934" y="1700695"/>
            <a:ext cx="6027978" cy="2023279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75333733-FBAA-4D56-B5BC-BA4797F80B4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1031" y="4610326"/>
            <a:ext cx="2881590" cy="186884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02B4B8D-5994-4C3C-AAFD-1A44078ACA19}"/>
              </a:ext>
            </a:extLst>
          </p:cNvPr>
          <p:cNvSpPr txBox="1"/>
          <p:nvPr/>
        </p:nvSpPr>
        <p:spPr>
          <a:xfrm>
            <a:off x="3816010" y="4361734"/>
            <a:ext cx="8125173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2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serve the current states and </a:t>
            </a:r>
            <a:br>
              <a:rPr lang="en-US" altLang="ko-KR" sz="2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ko-KR" sz="2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 the optimal actions (Left or Right) to keep the pole upright straight.</a:t>
            </a:r>
            <a:br>
              <a:rPr lang="en-US" altLang="ko-KR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altLang="ko-KR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ko-KR" sz="2000" dirty="0">
                <a:latin typeface="Calibri" panose="020F0502020204030204" pitchFamily="34" charset="0"/>
                <a:cs typeface="Calibri" panose="020F0502020204030204" pitchFamily="34" charset="0"/>
              </a:rPr>
              <a:t>1 Reward is given if the pole stands upright. (less than 15 degree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ko-KR" sz="2000" dirty="0">
                <a:latin typeface="Calibri" panose="020F0502020204030204" pitchFamily="34" charset="0"/>
                <a:cs typeface="Calibri" panose="020F0502020204030204" pitchFamily="34" charset="0"/>
              </a:rPr>
              <a:t>Trial fails if the pole is more than 15 degrees from vertica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ko-KR" sz="2000" dirty="0">
                <a:latin typeface="Calibri" panose="020F0502020204030204" pitchFamily="34" charset="0"/>
                <a:cs typeface="Calibri" panose="020F0502020204030204" pitchFamily="34" charset="0"/>
              </a:rPr>
              <a:t>Trial succeeds if movement ticks are more than 500 times</a:t>
            </a:r>
            <a:endParaRPr lang="ko-KR" alt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290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BqgQBFRu25fXmSnPIGG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hTxQjMTbObKSq6hFota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HBdi0SICSlyrGMVR_5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hTxQjMTbObKSq6hFot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hTxQjMTbObKSq6hFot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DU599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5FBC23"/>
      </a:lt2>
      <a:accent1>
        <a:srgbClr val="ABE5FF"/>
      </a:accent1>
      <a:accent2>
        <a:srgbClr val="00ADFB"/>
      </a:accent2>
      <a:accent3>
        <a:srgbClr val="0082BC"/>
      </a:accent3>
      <a:accent4>
        <a:srgbClr val="1D428A"/>
      </a:accent4>
      <a:accent5>
        <a:srgbClr val="0E2961"/>
      </a:accent5>
      <a:accent6>
        <a:srgbClr val="808080"/>
      </a:accent6>
      <a:hlink>
        <a:srgbClr val="0082BC"/>
      </a:hlink>
      <a:folHlink>
        <a:srgbClr val="1D428A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5FBC23"/>
        </a:lt2>
        <a:accent1>
          <a:srgbClr val="ABE5FF"/>
        </a:accent1>
        <a:accent2>
          <a:srgbClr val="00ADFB"/>
        </a:accent2>
        <a:accent3>
          <a:srgbClr val="0082BC"/>
        </a:accent3>
        <a:accent4>
          <a:srgbClr val="1D428A"/>
        </a:accent4>
        <a:accent5>
          <a:srgbClr val="0E2961"/>
        </a:accent5>
        <a:accent6>
          <a:srgbClr val="808080"/>
        </a:accent6>
        <a:hlink>
          <a:srgbClr val="0082BC"/>
        </a:hlink>
        <a:folHlink>
          <a:srgbClr val="1D42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U5999_CF1.potx" id="{1B6B4819-F6D3-4240-A0AB-ADFA5D0CC662}" vid="{44C94B06-8502-4D3C-A27C-524710325E92}"/>
    </a:ext>
  </a:extLst>
</a:theme>
</file>

<file path=ppt/theme/theme2.xml><?xml version="1.0" encoding="utf-8"?>
<a:theme xmlns:a="http://schemas.openxmlformats.org/drawingml/2006/main" name="DU599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5FBC23"/>
      </a:lt2>
      <a:accent1>
        <a:srgbClr val="ABE5FF"/>
      </a:accent1>
      <a:accent2>
        <a:srgbClr val="00ADFB"/>
      </a:accent2>
      <a:accent3>
        <a:srgbClr val="0082BC"/>
      </a:accent3>
      <a:accent4>
        <a:srgbClr val="1D428A"/>
      </a:accent4>
      <a:accent5>
        <a:srgbClr val="0E2961"/>
      </a:accent5>
      <a:accent6>
        <a:srgbClr val="808080"/>
      </a:accent6>
      <a:hlink>
        <a:srgbClr val="0082BC"/>
      </a:hlink>
      <a:folHlink>
        <a:srgbClr val="1D428A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5FBC23"/>
        </a:lt2>
        <a:accent1>
          <a:srgbClr val="ABE5FF"/>
        </a:accent1>
        <a:accent2>
          <a:srgbClr val="00ADFB"/>
        </a:accent2>
        <a:accent3>
          <a:srgbClr val="0082BC"/>
        </a:accent3>
        <a:accent4>
          <a:srgbClr val="1D428A"/>
        </a:accent4>
        <a:accent5>
          <a:srgbClr val="0E2961"/>
        </a:accent5>
        <a:accent6>
          <a:srgbClr val="808080"/>
        </a:accent6>
        <a:hlink>
          <a:srgbClr val="0082BC"/>
        </a:hlink>
        <a:folHlink>
          <a:srgbClr val="1D42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U5999_CF1.potx" id="{1B6B4819-F6D3-4240-A0AB-ADFA5D0CC662}" vid="{44C94B06-8502-4D3C-A27C-524710325E92}"/>
    </a:ext>
  </a:extLst>
</a:theme>
</file>

<file path=ppt/theme/theme3.xml><?xml version="1.0" encoding="utf-8"?>
<a:theme xmlns:a="http://schemas.openxmlformats.org/drawingml/2006/main" name="2_DU599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5FBC23"/>
      </a:lt2>
      <a:accent1>
        <a:srgbClr val="ABE5FF"/>
      </a:accent1>
      <a:accent2>
        <a:srgbClr val="00ADFB"/>
      </a:accent2>
      <a:accent3>
        <a:srgbClr val="0082BC"/>
      </a:accent3>
      <a:accent4>
        <a:srgbClr val="1D428A"/>
      </a:accent4>
      <a:accent5>
        <a:srgbClr val="0E2961"/>
      </a:accent5>
      <a:accent6>
        <a:srgbClr val="808080"/>
      </a:accent6>
      <a:hlink>
        <a:srgbClr val="0082BC"/>
      </a:hlink>
      <a:folHlink>
        <a:srgbClr val="1D428A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5FBC23"/>
        </a:lt2>
        <a:accent1>
          <a:srgbClr val="ABE5FF"/>
        </a:accent1>
        <a:accent2>
          <a:srgbClr val="00ADFB"/>
        </a:accent2>
        <a:accent3>
          <a:srgbClr val="0082BC"/>
        </a:accent3>
        <a:accent4>
          <a:srgbClr val="1D428A"/>
        </a:accent4>
        <a:accent5>
          <a:srgbClr val="0E2961"/>
        </a:accent5>
        <a:accent6>
          <a:srgbClr val="808080"/>
        </a:accent6>
        <a:hlink>
          <a:srgbClr val="0082BC"/>
        </a:hlink>
        <a:folHlink>
          <a:srgbClr val="1D42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U5999_CF1.potx" id="{1B6B4819-F6D3-4240-A0AB-ADFA5D0CC662}" vid="{44C94B06-8502-4D3C-A27C-524710325E92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9</Words>
  <Application>Microsoft Office PowerPoint</Application>
  <PresentationFormat>와이드스크린</PresentationFormat>
  <Paragraphs>196</Paragraphs>
  <Slides>24</Slides>
  <Notes>23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24</vt:i4>
      </vt:variant>
    </vt:vector>
  </HeadingPairs>
  <TitlesOfParts>
    <vt:vector size="34" baseType="lpstr">
      <vt:lpstr>calbiri</vt:lpstr>
      <vt:lpstr>맑은 고딕</vt:lpstr>
      <vt:lpstr>Arial</vt:lpstr>
      <vt:lpstr>Calibri</vt:lpstr>
      <vt:lpstr>Wingdings</vt:lpstr>
      <vt:lpstr>1_DU5999_CF</vt:lpstr>
      <vt:lpstr>DU5999_CF</vt:lpstr>
      <vt:lpstr>2_DU5999_CF</vt:lpstr>
      <vt:lpstr>think-cell Folie</vt:lpstr>
      <vt:lpstr>think-cell Slide</vt:lpstr>
      <vt:lpstr>Reinforecement Learning  USE TesT case (FOR discussion)</vt:lpstr>
      <vt:lpstr>Analytics outcome Deployment</vt:lpstr>
      <vt:lpstr>CONTENTS</vt:lpstr>
      <vt:lpstr>Supervised Learning vs. Reinforcement learning</vt:lpstr>
      <vt:lpstr>Model based vs. Model Free</vt:lpstr>
      <vt:lpstr>Pytorch</vt:lpstr>
      <vt:lpstr>Pytorch Coded Perceptron (1/2)</vt:lpstr>
      <vt:lpstr>Pytorch Coded Perceptron (2/2)</vt:lpstr>
      <vt:lpstr>Cartpole Problem</vt:lpstr>
      <vt:lpstr>Open-AI Cartpole Environment</vt:lpstr>
      <vt:lpstr>Open-AI Cartpole Environment (Physics)</vt:lpstr>
      <vt:lpstr>Open-AI Cartpole Environment (DQN)</vt:lpstr>
      <vt:lpstr>Deep q Network</vt:lpstr>
      <vt:lpstr>Deep q Network</vt:lpstr>
      <vt:lpstr>Deep Q Network</vt:lpstr>
      <vt:lpstr>Air-Gas Ratio</vt:lpstr>
      <vt:lpstr>Air-Gas Ratio</vt:lpstr>
      <vt:lpstr>Air-Gas Ratio</vt:lpstr>
      <vt:lpstr>Air-Gas Ratio</vt:lpstr>
      <vt:lpstr>Air-Gas Ratio</vt:lpstr>
      <vt:lpstr>Air-Gas Ratio</vt:lpstr>
      <vt:lpstr>Air-Gas Ratio: Reinforcement Learning</vt:lpstr>
      <vt:lpstr>Air-Gas Ratio</vt:lpstr>
      <vt:lpstr>Appendix</vt:lpstr>
    </vt:vector>
  </TitlesOfParts>
  <Company>Novel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tatement : Reduce black dross rate</dc:title>
  <dc:creator>JungHo Kang</dc:creator>
  <cp:lastModifiedBy>KiHa Shin</cp:lastModifiedBy>
  <cp:revision>95</cp:revision>
  <dcterms:created xsi:type="dcterms:W3CDTF">2021-04-22T08:55:48Z</dcterms:created>
  <dcterms:modified xsi:type="dcterms:W3CDTF">2021-12-04T02:1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4f9abf-41d9-4073-8cec-9d70b37e948d_Enabled">
    <vt:lpwstr>true</vt:lpwstr>
  </property>
  <property fmtid="{D5CDD505-2E9C-101B-9397-08002B2CF9AE}" pid="3" name="MSIP_Label_f64f9abf-41d9-4073-8cec-9d70b37e948d_SetDate">
    <vt:lpwstr>2021-07-14T02:11:53Z</vt:lpwstr>
  </property>
  <property fmtid="{D5CDD505-2E9C-101B-9397-08002B2CF9AE}" pid="4" name="MSIP_Label_f64f9abf-41d9-4073-8cec-9d70b37e948d_Method">
    <vt:lpwstr>Standard</vt:lpwstr>
  </property>
  <property fmtid="{D5CDD505-2E9C-101B-9397-08002B2CF9AE}" pid="5" name="MSIP_Label_f64f9abf-41d9-4073-8cec-9d70b37e948d_Name">
    <vt:lpwstr>f64f9abf-41d9-4073-8cec-9d70b37e948d</vt:lpwstr>
  </property>
  <property fmtid="{D5CDD505-2E9C-101B-9397-08002B2CF9AE}" pid="6" name="MSIP_Label_f64f9abf-41d9-4073-8cec-9d70b37e948d_SiteId">
    <vt:lpwstr>d22c77f4-2e36-47f9-91bd-85176efc7a36</vt:lpwstr>
  </property>
  <property fmtid="{D5CDD505-2E9C-101B-9397-08002B2CF9AE}" pid="7" name="MSIP_Label_f64f9abf-41d9-4073-8cec-9d70b37e948d_ActionId">
    <vt:lpwstr>4754fd7a-6f56-4d77-829a-4b178dda78c2</vt:lpwstr>
  </property>
  <property fmtid="{D5CDD505-2E9C-101B-9397-08002B2CF9AE}" pid="8" name="MSIP_Label_f64f9abf-41d9-4073-8cec-9d70b37e948d_ContentBits">
    <vt:lpwstr>0</vt:lpwstr>
  </property>
</Properties>
</file>